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48" r:id="rId19"/>
    <p:sldMasterId id="2147483841" r:id="rId20"/>
  </p:sldMasterIdLst>
  <p:notesMasterIdLst>
    <p:notesMasterId r:id="rId28"/>
  </p:notesMasterIdLst>
  <p:handoutMasterIdLst>
    <p:handoutMasterId r:id="rId29"/>
  </p:handoutMasterIdLst>
  <p:sldIdLst>
    <p:sldId id="2146848250" r:id="rId21"/>
    <p:sldId id="2146846489" r:id="rId22"/>
    <p:sldId id="2147378226" r:id="rId23"/>
    <p:sldId id="2147378224" r:id="rId24"/>
    <p:sldId id="2147378225" r:id="rId25"/>
    <p:sldId id="2147378222" r:id="rId26"/>
    <p:sldId id="2147378223" r:id="rId27"/>
  </p:sldIdLst>
  <p:sldSz cx="12192000" cy="6858000"/>
  <p:notesSz cx="6735763" cy="9866313"/>
  <p:embeddedFontLst>
    <p:embeddedFont>
      <p:font typeface="Roboto" panose="02000000000000000000" pitchFamily="2" charset="0"/>
      <p:regular r:id="rId30"/>
      <p:bold r:id="rId31"/>
      <p:italic r:id="rId32"/>
      <p:boldItalic r:id="rId33"/>
    </p:embeddedFont>
    <p:embeddedFont>
      <p:font typeface="Swedbank Headline Black" panose="02000000000000000000" pitchFamily="50" charset="0"/>
      <p:bold r:id="rId34"/>
    </p:embeddedFont>
    <p:embeddedFont>
      <p:font typeface="Swedbank Headline Bold" panose="02000000000000000000" pitchFamily="50" charset="0"/>
      <p:bold r:id="rId35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08" userDrawn="1">
          <p15:clr>
            <a:srgbClr val="A4A3A4"/>
          </p15:clr>
        </p15:guide>
        <p15:guide id="2" pos="212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līna Smilga" initials="ES" lastIdx="2" clrIdx="0">
    <p:extLst>
      <p:ext uri="{19B8F6BF-5375-455C-9EA6-DF929625EA0E}">
        <p15:presenceInfo xmlns:p15="http://schemas.microsoft.com/office/powerpoint/2012/main" userId="S::elinsmil@fspa.myntet.se::55d5d54d-d2cf-4e2f-9578-b667ba18ed77" providerId="AD"/>
      </p:ext>
    </p:extLst>
  </p:cmAuthor>
  <p:cmAuthor id="2" name="Marius Rekštys" initials="MR" lastIdx="3" clrIdx="1">
    <p:extLst>
      <p:ext uri="{19B8F6BF-5375-455C-9EA6-DF929625EA0E}">
        <p15:presenceInfo xmlns:p15="http://schemas.microsoft.com/office/powerpoint/2012/main" userId="S::marrek@fspa.myntet.se::0a1ca7a4-6667-4dcd-927d-1a0461728d18" providerId="AD"/>
      </p:ext>
    </p:extLst>
  </p:cmAuthor>
  <p:cmAuthor id="3" name="Pavel Ladziato" initials="PL" lastIdx="1" clrIdx="2">
    <p:extLst>
      <p:ext uri="{19B8F6BF-5375-455C-9EA6-DF929625EA0E}">
        <p15:presenceInfo xmlns:p15="http://schemas.microsoft.com/office/powerpoint/2012/main" userId="S::pavlad@fspa.myntet.se::2e74490a-2d9b-45d5-957b-d07ee8efeb43" providerId="AD"/>
      </p:ext>
    </p:extLst>
  </p:cmAuthor>
  <p:cmAuthor id="4" name="Maivi Hanson" initials="MH" lastIdx="2" clrIdx="3">
    <p:extLst>
      <p:ext uri="{19B8F6BF-5375-455C-9EA6-DF929625EA0E}">
        <p15:presenceInfo xmlns:p15="http://schemas.microsoft.com/office/powerpoint/2012/main" userId="S::maivi@fspa.myntet.se::fe22decf-09ac-464b-a35e-bee87bdf0702" providerId="AD"/>
      </p:ext>
    </p:extLst>
  </p:cmAuthor>
  <p:cmAuthor id="5" name="Arnis Sloka" initials="AS" lastIdx="6" clrIdx="4">
    <p:extLst>
      <p:ext uri="{19B8F6BF-5375-455C-9EA6-DF929625EA0E}">
        <p15:presenceInfo xmlns:p15="http://schemas.microsoft.com/office/powerpoint/2012/main" userId="S::p998afz@fspa.myntet.se::714ec3cc-0b4c-4669-aa58-3394ce56876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701C"/>
    <a:srgbClr val="FF5F00"/>
    <a:srgbClr val="FFECFF"/>
    <a:srgbClr val="000000"/>
    <a:srgbClr val="777777"/>
    <a:srgbClr val="E3002D"/>
    <a:srgbClr val="60CD18"/>
    <a:srgbClr val="A6A6A6"/>
    <a:srgbClr val="FAEFE5"/>
    <a:srgbClr val="FF9F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641" autoAdjust="0"/>
    <p:restoredTop sz="63333" autoAdjust="0"/>
  </p:normalViewPr>
  <p:slideViewPr>
    <p:cSldViewPr snapToGrid="0" showGuides="1">
      <p:cViewPr varScale="1">
        <p:scale>
          <a:sx n="103" d="100"/>
          <a:sy n="103" d="100"/>
        </p:scale>
        <p:origin x="3414" y="7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5512"/>
    </p:cViewPr>
  </p:sorterViewPr>
  <p:notesViewPr>
    <p:cSldViewPr snapToGrid="0">
      <p:cViewPr varScale="1">
        <p:scale>
          <a:sx n="92" d="100"/>
          <a:sy n="92" d="100"/>
        </p:scale>
        <p:origin x="2616" y="108"/>
      </p:cViewPr>
      <p:guideLst>
        <p:guide orient="horz" pos="3108"/>
        <p:guide pos="212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" Target="slides/slide6.xml"/><Relationship Id="rId39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.xml"/><Relationship Id="rId34" Type="http://schemas.openxmlformats.org/officeDocument/2006/relationships/font" Target="fonts/font5.fntdata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5.xml"/><Relationship Id="rId33" Type="http://schemas.openxmlformats.org/officeDocument/2006/relationships/font" Target="fonts/font4.fntdata"/><Relationship Id="rId38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Master" Target="slideMasters/slideMaster2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4.xml"/><Relationship Id="rId32" Type="http://schemas.openxmlformats.org/officeDocument/2006/relationships/font" Target="fonts/font3.fntdata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3.xml"/><Relationship Id="rId28" Type="http://schemas.openxmlformats.org/officeDocument/2006/relationships/notesMaster" Target="notesMasters/notesMaster1.xml"/><Relationship Id="rId36" Type="http://schemas.openxmlformats.org/officeDocument/2006/relationships/commentAuthors" Target="commentAuthors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1.xml"/><Relationship Id="rId31" Type="http://schemas.openxmlformats.org/officeDocument/2006/relationships/font" Target="fonts/font2.fntdata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2.xml"/><Relationship Id="rId27" Type="http://schemas.openxmlformats.org/officeDocument/2006/relationships/slide" Target="slides/slide7.xml"/><Relationship Id="rId30" Type="http://schemas.openxmlformats.org/officeDocument/2006/relationships/font" Target="fonts/font1.fntdata"/><Relationship Id="rId35" Type="http://schemas.openxmlformats.org/officeDocument/2006/relationships/font" Target="fonts/font6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8">
            <a:extLst>
              <a:ext uri="{FF2B5EF4-FFF2-40B4-BE49-F238E27FC236}">
                <a16:creationId xmlns:a16="http://schemas.microsoft.com/office/drawing/2014/main" id="{2A7650B3-11A8-4112-AACF-02286E536B64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675684" y="9443677"/>
            <a:ext cx="1564209" cy="1647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681EF29B-F0DE-4A5D-971E-F0D2D074F34E}" type="datetime4">
              <a:rPr lang="en-GB" smtClean="0"/>
              <a:t>19 April 2023</a:t>
            </a:fld>
            <a:endParaRPr lang="en-GB" sz="800" dirty="0"/>
          </a:p>
        </p:txBody>
      </p:sp>
      <p:sp>
        <p:nvSpPr>
          <p:cNvPr id="11" name="Slide Number Placeholder 9">
            <a:extLst>
              <a:ext uri="{FF2B5EF4-FFF2-40B4-BE49-F238E27FC236}">
                <a16:creationId xmlns:a16="http://schemas.microsoft.com/office/drawing/2014/main" id="{707587DC-3356-4DEF-AB7B-98460ED013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675684" y="9247500"/>
            <a:ext cx="1564209" cy="1647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A16CFAD1-D197-4A88-B173-A6412E995EE5}" type="slidenum">
              <a:rPr lang="en-GB" smtClean="0"/>
              <a:pPr/>
              <a:t>‹#›</a:t>
            </a:fld>
            <a:endParaRPr lang="en-GB" sz="800" dirty="0"/>
          </a:p>
        </p:txBody>
      </p:sp>
      <p:sp>
        <p:nvSpPr>
          <p:cNvPr id="12" name="Footer Placeholder 10">
            <a:extLst>
              <a:ext uri="{FF2B5EF4-FFF2-40B4-BE49-F238E27FC236}">
                <a16:creationId xmlns:a16="http://schemas.microsoft.com/office/drawing/2014/main" id="{303B5240-CABE-47D7-B1F4-A5E13FBC77F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438410" y="9443677"/>
            <a:ext cx="4231743" cy="1647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  <p:sp>
        <p:nvSpPr>
          <p:cNvPr id="13" name="Header Placeholder 12">
            <a:extLst>
              <a:ext uri="{FF2B5EF4-FFF2-40B4-BE49-F238E27FC236}">
                <a16:creationId xmlns:a16="http://schemas.microsoft.com/office/drawing/2014/main" id="{12B1FB85-7E87-4737-B2C7-7FFF0CFE04F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438410" y="9247500"/>
            <a:ext cx="4231743" cy="1647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  <p:sp>
        <p:nvSpPr>
          <p:cNvPr id="14" name="textruta 11">
            <a:extLst>
              <a:ext uri="{FF2B5EF4-FFF2-40B4-BE49-F238E27FC236}">
                <a16:creationId xmlns:a16="http://schemas.microsoft.com/office/drawing/2014/main" id="{F61ED93F-1EB0-477B-8B28-53978E615B6F}"/>
              </a:ext>
            </a:extLst>
          </p:cNvPr>
          <p:cNvSpPr txBox="1"/>
          <p:nvPr/>
        </p:nvSpPr>
        <p:spPr>
          <a:xfrm>
            <a:off x="413047" y="9619999"/>
            <a:ext cx="723819" cy="1204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800" noProof="1">
                <a:solidFill>
                  <a:schemeClr val="tx1"/>
                </a:solidFill>
                <a:latin typeface="+mn-lt"/>
                <a:cs typeface="Arial" pitchFamily="34" charset="0"/>
              </a:rPr>
              <a:t>© Swedbank</a:t>
            </a:r>
          </a:p>
        </p:txBody>
      </p:sp>
    </p:spTree>
    <p:extLst>
      <p:ext uri="{BB962C8B-B14F-4D97-AF65-F5344CB8AC3E}">
        <p14:creationId xmlns:p14="http://schemas.microsoft.com/office/powerpoint/2010/main" val="13947997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Notes Placeholder 7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2" name="Slide Image Placeholder 11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14" name="Date Placeholder 8">
            <a:extLst>
              <a:ext uri="{FF2B5EF4-FFF2-40B4-BE49-F238E27FC236}">
                <a16:creationId xmlns:a16="http://schemas.microsoft.com/office/drawing/2014/main" id="{E73B94CF-D2F9-40C2-A818-76A57704DF6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675684" y="9443677"/>
            <a:ext cx="1706496" cy="1647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681EF29B-F0DE-4A5D-971E-F0D2D074F34E}" type="datetime4">
              <a:rPr lang="en-GB" smtClean="0"/>
              <a:t>19 April 2023</a:t>
            </a:fld>
            <a:endParaRPr lang="en-GB" sz="800" dirty="0"/>
          </a:p>
        </p:txBody>
      </p:sp>
      <p:sp>
        <p:nvSpPr>
          <p:cNvPr id="15" name="Slide Number Placeholder 9">
            <a:extLst>
              <a:ext uri="{FF2B5EF4-FFF2-40B4-BE49-F238E27FC236}">
                <a16:creationId xmlns:a16="http://schemas.microsoft.com/office/drawing/2014/main" id="{0B7B9ED6-D2AD-4170-AE2B-50B25C3A1D6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675684" y="9247500"/>
            <a:ext cx="1706496" cy="1647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A16CFAD1-D197-4A88-B173-A6412E995EE5}" type="slidenum">
              <a:rPr lang="en-GB" smtClean="0"/>
              <a:pPr/>
              <a:t>‹#›</a:t>
            </a:fld>
            <a:endParaRPr lang="en-GB" sz="800"/>
          </a:p>
        </p:txBody>
      </p:sp>
      <p:sp>
        <p:nvSpPr>
          <p:cNvPr id="16" name="Footer Placeholder 10">
            <a:extLst>
              <a:ext uri="{FF2B5EF4-FFF2-40B4-BE49-F238E27FC236}">
                <a16:creationId xmlns:a16="http://schemas.microsoft.com/office/drawing/2014/main" id="{FEAC6656-EDA4-4FE4-AC5E-BDEA6032D80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347353" y="9443677"/>
            <a:ext cx="4322800" cy="1647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/>
          </a:p>
        </p:txBody>
      </p:sp>
      <p:sp>
        <p:nvSpPr>
          <p:cNvPr id="17" name="Header Placeholder 12">
            <a:extLst>
              <a:ext uri="{FF2B5EF4-FFF2-40B4-BE49-F238E27FC236}">
                <a16:creationId xmlns:a16="http://schemas.microsoft.com/office/drawing/2014/main" id="{C3B67D38-CAF9-4190-9AA4-F9DACB515BF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347353" y="9247500"/>
            <a:ext cx="4322800" cy="1647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12006011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t-E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</a:t>
            </a:fld>
            <a:endParaRPr lang="en-GB" sz="800"/>
          </a:p>
        </p:txBody>
      </p:sp>
    </p:spTree>
    <p:extLst>
      <p:ext uri="{BB962C8B-B14F-4D97-AF65-F5344CB8AC3E}">
        <p14:creationId xmlns:p14="http://schemas.microsoft.com/office/powerpoint/2010/main" val="1322854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t-E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2</a:t>
            </a:fld>
            <a:endParaRPr lang="en-GB" sz="800"/>
          </a:p>
        </p:txBody>
      </p:sp>
    </p:spTree>
    <p:extLst>
      <p:ext uri="{BB962C8B-B14F-4D97-AF65-F5344CB8AC3E}">
        <p14:creationId xmlns:p14="http://schemas.microsoft.com/office/powerpoint/2010/main" val="12506951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t-E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3</a:t>
            </a:fld>
            <a:endParaRPr lang="en-GB" sz="800"/>
          </a:p>
        </p:txBody>
      </p:sp>
    </p:spTree>
    <p:extLst>
      <p:ext uri="{BB962C8B-B14F-4D97-AF65-F5344CB8AC3E}">
        <p14:creationId xmlns:p14="http://schemas.microsoft.com/office/powerpoint/2010/main" val="52228304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t-E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4</a:t>
            </a:fld>
            <a:endParaRPr lang="en-GB" sz="800"/>
          </a:p>
        </p:txBody>
      </p:sp>
    </p:spTree>
    <p:extLst>
      <p:ext uri="{BB962C8B-B14F-4D97-AF65-F5344CB8AC3E}">
        <p14:creationId xmlns:p14="http://schemas.microsoft.com/office/powerpoint/2010/main" val="1183424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t-E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5</a:t>
            </a:fld>
            <a:endParaRPr lang="en-GB" sz="800"/>
          </a:p>
        </p:txBody>
      </p:sp>
    </p:spTree>
    <p:extLst>
      <p:ext uri="{BB962C8B-B14F-4D97-AF65-F5344CB8AC3E}">
        <p14:creationId xmlns:p14="http://schemas.microsoft.com/office/powerpoint/2010/main" val="25781706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t-E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6</a:t>
            </a:fld>
            <a:endParaRPr lang="en-GB" sz="800"/>
          </a:p>
        </p:txBody>
      </p:sp>
    </p:spTree>
    <p:extLst>
      <p:ext uri="{BB962C8B-B14F-4D97-AF65-F5344CB8AC3E}">
        <p14:creationId xmlns:p14="http://schemas.microsoft.com/office/powerpoint/2010/main" val="8313235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9.png"/><Relationship Id="rId10" Type="http://schemas.openxmlformats.org/officeDocument/2006/relationships/image" Target="../media/image14.png"/><Relationship Id="rId4" Type="http://schemas.openxmlformats.org/officeDocument/2006/relationships/image" Target="../media/image8.png"/><Relationship Id="rId9" Type="http://schemas.openxmlformats.org/officeDocument/2006/relationships/image" Target="../media/image13.png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9.png"/><Relationship Id="rId10" Type="http://schemas.openxmlformats.org/officeDocument/2006/relationships/image" Target="../media/image14.png"/><Relationship Id="rId4" Type="http://schemas.openxmlformats.org/officeDocument/2006/relationships/image" Target="../media/image8.png"/><Relationship Id="rId9" Type="http://schemas.openxmlformats.org/officeDocument/2006/relationships/image" Target="../media/image13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 oak shape A">
    <p:bg>
      <p:bgPr>
        <a:solidFill>
          <a:srgbClr val="FDC9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objekt 3">
            <a:extLst>
              <a:ext uri="{FF2B5EF4-FFF2-40B4-BE49-F238E27FC236}">
                <a16:creationId xmlns:a16="http://schemas.microsoft.com/office/drawing/2014/main" id="{58D7241C-1382-42A0-91AA-EBCB856DB47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2" name="Logo">
            <a:extLst>
              <a:ext uri="{FF2B5EF4-FFF2-40B4-BE49-F238E27FC236}">
                <a16:creationId xmlns:a16="http://schemas.microsoft.com/office/drawing/2014/main" id="{D85C6594-A61F-4F9B-8E7A-CB490490C7B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058708" y="277629"/>
            <a:ext cx="2851340" cy="612378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3EF108A4-48E9-4320-B99B-17F12B02E3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638" y="2333233"/>
            <a:ext cx="10623550" cy="1861077"/>
          </a:xfrm>
        </p:spPr>
        <p:txBody>
          <a:bodyPr anchor="ctr" anchorCtr="0"/>
          <a:lstStyle>
            <a:lvl1pPr algn="ctr">
              <a:lnSpc>
                <a:spcPct val="90000"/>
              </a:lnSpc>
              <a:defRPr sz="6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 on </a:t>
            </a:r>
            <a:br>
              <a:rPr lang="en-US" dirty="0"/>
            </a:br>
            <a:r>
              <a:rPr lang="en-US" dirty="0"/>
              <a:t>max two rows</a:t>
            </a:r>
            <a:endParaRPr lang="en-GB" dirty="0"/>
          </a:p>
        </p:txBody>
      </p:sp>
      <p:sp>
        <p:nvSpPr>
          <p:cNvPr id="17" name="Text Placeholder 20">
            <a:extLst>
              <a:ext uri="{FF2B5EF4-FFF2-40B4-BE49-F238E27FC236}">
                <a16:creationId xmlns:a16="http://schemas.microsoft.com/office/drawing/2014/main" id="{D82221A3-F8B6-4734-B404-8D27C11EB4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20913" y="4522577"/>
            <a:ext cx="7745412" cy="720000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b="0">
                <a:solidFill>
                  <a:schemeClr val="bg1"/>
                </a:solidFill>
                <a:latin typeface="Swedbank Headline Bold" panose="02000000000000000000" pitchFamily="50" charset="0"/>
              </a:defRPr>
            </a:lvl1pPr>
            <a:lvl2pPr marL="216000" indent="0" algn="ctr">
              <a:buNone/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image" descr="{&quot;templafy&quot;:{&quot;type&quot;:&quot;image&quot;,&quot;binding&quot;:&quot;Form.InformationClasses.BoxfrontPP&quot;,&quot;inheritDimensions&quot;:&quot;inheritNone&quot;,&quot;width&quot;:&quot;&quot;,&quot;height&quot;:&quot;0.98 cm&quot;,&quot;visibility&quot;:{&quot;action&quot;:&quot;hide&quot;,&quot;compareValue&quot;:&quot;Confidential&quot;,&quot;binding&quot;:&quot;Form.InformationClasses.Term&quot;,&quot;operator&quot;:&quot;notEquals&quot;}}}" title="Form.InformationClasses.BoxfrontPP">
            <a:extLst>
              <a:ext uri="{FF2B5EF4-FFF2-40B4-BE49-F238E27FC236}">
                <a16:creationId xmlns:a16="http://schemas.microsoft.com/office/drawing/2014/main" id="{B225BF8E-66BB-491A-9141-06C1A7A6C49A}"/>
              </a:ext>
            </a:extLst>
          </p:cNvPr>
          <p:cNvSpPr/>
          <p:nvPr userDrawn="1"/>
        </p:nvSpPr>
        <p:spPr>
          <a:xfrm>
            <a:off x="-2707" y="354123"/>
            <a:ext cx="1839621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rIns="162000" rtlCol="0" anchor="ctr"/>
          <a:lstStyle/>
          <a:p>
            <a:pPr algn="r">
              <a:spcBef>
                <a:spcPts val="600"/>
              </a:spcBef>
            </a:pPr>
            <a:endParaRPr lang="en-GB" sz="1400" noProof="0" dirty="0">
              <a:solidFill>
                <a:schemeClr val="bg2"/>
              </a:solidFill>
            </a:endParaRPr>
          </a:p>
        </p:txBody>
      </p:sp>
      <p:sp>
        <p:nvSpPr>
          <p:cNvPr id="15" name="text" descr="{&quot;templafy&quot;:{&quot;type&quot;:&quot;text&quot;,&quot;binding&quot;:&quot;Form.InformationClasses.TermfrontPP&quot;}}" title="Form.InformationClasses.TermfrontPP">
            <a:extLst>
              <a:ext uri="{FF2B5EF4-FFF2-40B4-BE49-F238E27FC236}">
                <a16:creationId xmlns:a16="http://schemas.microsoft.com/office/drawing/2014/main" id="{C509ECCB-5988-426B-867E-88063492F2EF}"/>
              </a:ext>
            </a:extLst>
          </p:cNvPr>
          <p:cNvSpPr/>
          <p:nvPr userDrawn="1"/>
        </p:nvSpPr>
        <p:spPr>
          <a:xfrm>
            <a:off x="-2707" y="354123"/>
            <a:ext cx="1839621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rIns="162000" rtlCol="0" anchor="ctr"/>
          <a:lstStyle/>
          <a:p>
            <a:pPr algn="r">
              <a:spcBef>
                <a:spcPts val="600"/>
              </a:spcBef>
            </a:pPr>
            <a:endParaRPr lang="en-GB" sz="1400" noProof="0" dirty="0">
              <a:solidFill>
                <a:srgbClr val="FF5F00"/>
              </a:solidFill>
              <a:latin typeface="Swedbank Headline Bold" panose="020000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79431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hapter, orange box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6154" cy="6858000"/>
          </a:xfrm>
          <a:noFill/>
        </p:spPr>
        <p:txBody>
          <a:bodyPr tIns="36000"/>
          <a:lstStyle>
            <a:lvl1pPr marL="0" indent="0" algn="ctr">
              <a:buNone/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Add an image: Click here, insert image via Templafy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0701E18-0200-4F32-AFFB-E0C8B392576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618422" y="1969630"/>
            <a:ext cx="8955156" cy="2918740"/>
          </a:xfrm>
          <a:solidFill>
            <a:srgbClr val="FF5E00"/>
          </a:solidFill>
        </p:spPr>
        <p:txBody>
          <a:bodyPr lIns="540000" tIns="540000" rIns="540000" bIns="540000" anchor="ctr" anchorCtr="0">
            <a:spAutoFit/>
          </a:bodyPr>
          <a:lstStyle>
            <a:lvl1pPr algn="ctr">
              <a:lnSpc>
                <a:spcPct val="90000"/>
              </a:lnSpc>
              <a:defRPr sz="6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chapter heading</a:t>
            </a:r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278466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Chapter, oak shape &amp; image">
    <p:bg>
      <p:bgPr>
        <a:solidFill>
          <a:srgbClr val="FF5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FAA22785-9C30-4059-8314-892CF398437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58000"/>
          </a:xfrm>
          <a:custGeom>
            <a:avLst/>
            <a:gdLst>
              <a:gd name="connsiteX0" fmla="*/ 0 w 12193200"/>
              <a:gd name="connsiteY0" fmla="*/ 0 h 6858000"/>
              <a:gd name="connsiteX1" fmla="*/ 12193200 w 12193200"/>
              <a:gd name="connsiteY1" fmla="*/ 0 h 6858000"/>
              <a:gd name="connsiteX2" fmla="*/ 12193200 w 12193200"/>
              <a:gd name="connsiteY2" fmla="*/ 1472513 h 6858000"/>
              <a:gd name="connsiteX3" fmla="*/ 10408845 w 12193200"/>
              <a:gd name="connsiteY3" fmla="*/ 1765643 h 6858000"/>
              <a:gd name="connsiteX4" fmla="*/ 9353613 w 12193200"/>
              <a:gd name="connsiteY4" fmla="*/ 1368167 h 6858000"/>
              <a:gd name="connsiteX5" fmla="*/ 7641347 w 12193200"/>
              <a:gd name="connsiteY5" fmla="*/ 2113692 h 6858000"/>
              <a:gd name="connsiteX6" fmla="*/ 6964405 w 12193200"/>
              <a:gd name="connsiteY6" fmla="*/ 2799492 h 6858000"/>
              <a:gd name="connsiteX7" fmla="*/ 6019020 w 12193200"/>
              <a:gd name="connsiteY7" fmla="*/ 2829011 h 6858000"/>
              <a:gd name="connsiteX8" fmla="*/ 5072261 w 12193200"/>
              <a:gd name="connsiteY8" fmla="*/ 4250724 h 6858000"/>
              <a:gd name="connsiteX9" fmla="*/ 3491128 w 12193200"/>
              <a:gd name="connsiteY9" fmla="*/ 4727146 h 6858000"/>
              <a:gd name="connsiteX10" fmla="*/ 2777798 w 12193200"/>
              <a:gd name="connsiteY10" fmla="*/ 5878384 h 6858000"/>
              <a:gd name="connsiteX11" fmla="*/ 2314374 w 12193200"/>
              <a:gd name="connsiteY11" fmla="*/ 5864654 h 6858000"/>
              <a:gd name="connsiteX12" fmla="*/ 1700595 w 12193200"/>
              <a:gd name="connsiteY12" fmla="*/ 5570152 h 6858000"/>
              <a:gd name="connsiteX13" fmla="*/ 737360 w 12193200"/>
              <a:gd name="connsiteY13" fmla="*/ 6560752 h 6858000"/>
              <a:gd name="connsiteX14" fmla="*/ 0 w 12193200"/>
              <a:gd name="connsiteY1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93200" h="6858000">
                <a:moveTo>
                  <a:pt x="0" y="0"/>
                </a:moveTo>
                <a:lnTo>
                  <a:pt x="12193200" y="0"/>
                </a:lnTo>
                <a:lnTo>
                  <a:pt x="12193200" y="1472513"/>
                </a:lnTo>
                <a:cubicBezTo>
                  <a:pt x="10975939" y="1367481"/>
                  <a:pt x="11224473" y="1964038"/>
                  <a:pt x="10408845" y="1765643"/>
                </a:cubicBezTo>
                <a:cubicBezTo>
                  <a:pt x="9864409" y="1633151"/>
                  <a:pt x="10110195" y="1397686"/>
                  <a:pt x="9353613" y="1368167"/>
                </a:cubicBezTo>
                <a:cubicBezTo>
                  <a:pt x="8288081" y="1326292"/>
                  <a:pt x="8756311" y="2163805"/>
                  <a:pt x="7641347" y="2113692"/>
                </a:cubicBezTo>
                <a:cubicBezTo>
                  <a:pt x="7187535" y="2093784"/>
                  <a:pt x="7382517" y="2621005"/>
                  <a:pt x="6964405" y="2799492"/>
                </a:cubicBezTo>
                <a:cubicBezTo>
                  <a:pt x="6656142" y="2931297"/>
                  <a:pt x="6290895" y="2740454"/>
                  <a:pt x="6019020" y="2829011"/>
                </a:cubicBezTo>
                <a:cubicBezTo>
                  <a:pt x="4974085" y="3170194"/>
                  <a:pt x="5589923" y="3870411"/>
                  <a:pt x="5072261" y="4250724"/>
                </a:cubicBezTo>
                <a:cubicBezTo>
                  <a:pt x="4139922" y="4935838"/>
                  <a:pt x="4541555" y="4291227"/>
                  <a:pt x="3491128" y="4727146"/>
                </a:cubicBezTo>
                <a:cubicBezTo>
                  <a:pt x="2988570" y="4935151"/>
                  <a:pt x="2777798" y="5878384"/>
                  <a:pt x="2777798" y="5878384"/>
                </a:cubicBezTo>
                <a:cubicBezTo>
                  <a:pt x="2777798" y="5878384"/>
                  <a:pt x="2370672" y="5957330"/>
                  <a:pt x="2314374" y="5864654"/>
                </a:cubicBezTo>
                <a:cubicBezTo>
                  <a:pt x="2212764" y="5697838"/>
                  <a:pt x="2144108" y="5556422"/>
                  <a:pt x="1700595" y="5570152"/>
                </a:cubicBezTo>
                <a:cubicBezTo>
                  <a:pt x="1275618" y="5583195"/>
                  <a:pt x="1041503" y="6123460"/>
                  <a:pt x="737360" y="6560752"/>
                </a:cubicBezTo>
                <a:cubicBezTo>
                  <a:pt x="628197" y="6716584"/>
                  <a:pt x="221757" y="6621162"/>
                  <a:pt x="0" y="685800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tIns="36000">
            <a:noAutofit/>
          </a:bodyPr>
          <a:lstStyle>
            <a:lvl1pPr marL="0" indent="0" algn="ctr">
              <a:buNone/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Add an image: Click here, insert image via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291263" y="4002848"/>
            <a:ext cx="5152901" cy="1329595"/>
          </a:xfrm>
          <a:noFill/>
        </p:spPr>
        <p:txBody>
          <a:bodyPr wrap="square" lIns="0" tIns="0" rIns="0" bIns="0" anchor="ctr" anchorCtr="0">
            <a:spAutoFit/>
          </a:bodyPr>
          <a:lstStyle>
            <a:lvl1pPr algn="l">
              <a:lnSpc>
                <a:spcPct val="90000"/>
              </a:lnSpc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chapter heading</a:t>
            </a:r>
          </a:p>
        </p:txBody>
      </p:sp>
      <p:sp>
        <p:nvSpPr>
          <p:cNvPr id="8" name="Text Placeholder 20">
            <a:extLst>
              <a:ext uri="{FF2B5EF4-FFF2-40B4-BE49-F238E27FC236}">
                <a16:creationId xmlns:a16="http://schemas.microsoft.com/office/drawing/2014/main" id="{D21585C6-5E47-4744-B88D-E91601F551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91263" y="5581810"/>
            <a:ext cx="5114925" cy="76929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b="0">
                <a:solidFill>
                  <a:schemeClr val="bg1"/>
                </a:solidFill>
              </a:defRPr>
            </a:lvl1pPr>
            <a:lvl2pPr marL="216000" indent="0" algn="ctr">
              <a:buNone/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r>
              <a:rPr lang="en-GB" dirty="0"/>
              <a:t>Insert introduction text</a:t>
            </a:r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74641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g message, textbox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">
            <a:extLst>
              <a:ext uri="{FF2B5EF4-FFF2-40B4-BE49-F238E27FC236}">
                <a16:creationId xmlns:a16="http://schemas.microsoft.com/office/drawing/2014/main" id="{0758CA1E-A7C6-4199-9C43-B3326643056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6154" cy="6858000"/>
          </a:xfrm>
          <a:noFill/>
        </p:spPr>
        <p:txBody>
          <a:bodyPr tIns="36000"/>
          <a:lstStyle>
            <a:lvl1pPr marL="0" indent="0" algn="ctr">
              <a:buNone/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Add an image: Click here, insert image via Templafy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A438773E-D526-4B9C-A162-7E855E7E8F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851524" y="1226343"/>
            <a:ext cx="8488952" cy="4405313"/>
          </a:xfrm>
          <a:solidFill>
            <a:srgbClr val="FF5E00"/>
          </a:solidFill>
        </p:spPr>
        <p:txBody>
          <a:bodyPr lIns="720000" tIns="540000" rIns="720000" bIns="540000"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a longer message or a quote</a:t>
            </a:r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335371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ig message on colour">
    <p:bg>
      <p:bgPr>
        <a:solidFill>
          <a:srgbClr val="FF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9A497D09-A345-4966-AD3C-EA9ECA1C60B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82638" y="1763713"/>
            <a:ext cx="10623550" cy="2546858"/>
          </a:xfrm>
          <a:noFill/>
        </p:spPr>
        <p:txBody>
          <a:bodyPr lIns="0" tIns="0" rIns="0" bIns="0" anchor="ctr" anchorCtr="0"/>
          <a:lstStyle>
            <a:lvl1pPr algn="ctr" defTabSz="914400" rtl="0" eaLnBrk="1" latinLnBrk="0" hangingPunct="1">
              <a:lnSpc>
                <a:spcPts val="6800"/>
              </a:lnSpc>
              <a:spcBef>
                <a:spcPct val="0"/>
              </a:spcBef>
              <a:buNone/>
              <a:defRPr lang="en-GB" sz="6600" b="1" kern="1200" dirty="0">
                <a:solidFill>
                  <a:srgbClr val="FF5F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Add chapter heading or big messag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220914" y="4724087"/>
            <a:ext cx="7745412" cy="854599"/>
          </a:xfrm>
        </p:spPr>
        <p:txBody>
          <a:bodyPr anchor="t" anchorCtr="0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Char char="​"/>
              <a:defRPr sz="2400" baseline="0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Insert introduction text</a:t>
            </a:r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305314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ig message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6154" cy="6858000"/>
          </a:xfrm>
          <a:blipFill>
            <a:blip r:embed="rId2"/>
            <a:stretch>
              <a:fillRect t="1" r="-2374" b="1"/>
            </a:stretch>
          </a:blipFill>
        </p:spPr>
        <p:txBody>
          <a:bodyPr tIns="36000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hange image: Click here, insert image via Templafy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A438773E-D526-4B9C-A162-7E855E7E8F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1851524" y="1226343"/>
            <a:ext cx="8488952" cy="4405313"/>
          </a:xfrm>
          <a:noFill/>
        </p:spPr>
        <p:txBody>
          <a:bodyPr lIns="0" tIns="0" rIns="0" bIns="0"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a longer </a:t>
            </a:r>
            <a:br>
              <a:rPr lang="en-GB" dirty="0"/>
            </a:br>
            <a:r>
              <a:rPr lang="en-GB" dirty="0"/>
              <a:t>message or a quot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569094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Content -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4224" y="481665"/>
            <a:ext cx="10620375" cy="1052240"/>
          </a:xfrm>
        </p:spPr>
        <p:txBody>
          <a:bodyPr/>
          <a:lstStyle>
            <a:lvl1pPr>
              <a:lnSpc>
                <a:spcPct val="90000"/>
              </a:lnSpc>
              <a:defRPr baseline="0"/>
            </a:lvl1pPr>
          </a:lstStyle>
          <a:p>
            <a:r>
              <a:rPr lang="en-GB" noProof="0" dirty="0"/>
              <a:t>Click to add heading on maximum two row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84224" y="1763713"/>
            <a:ext cx="10621963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en-GB" noProof="0" smtClean="0"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54529330"/>
      </p:ext>
    </p:extLst>
  </p:cSld>
  <p:clrMapOvr>
    <a:masterClrMapping/>
  </p:clrMapOvr>
  <p:hf hd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Content - one column">
    <p:bg>
      <p:bgPr>
        <a:solidFill>
          <a:srgbClr val="FAEF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4224" y="481665"/>
            <a:ext cx="10620375" cy="1052240"/>
          </a:xfrm>
        </p:spPr>
        <p:txBody>
          <a:bodyPr/>
          <a:lstStyle>
            <a:lvl1pPr>
              <a:lnSpc>
                <a:spcPct val="90000"/>
              </a:lnSpc>
              <a:defRPr baseline="0"/>
            </a:lvl1pPr>
          </a:lstStyle>
          <a:p>
            <a:r>
              <a:rPr lang="en-GB" noProof="0" dirty="0"/>
              <a:t>Click to add heading on maximum two row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84226" y="1763713"/>
            <a:ext cx="10621962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en-GB" noProof="0" smtClean="0"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872929173"/>
      </p:ext>
    </p:extLst>
  </p:cSld>
  <p:clrMapOvr>
    <a:masterClrMapping/>
  </p:clrMapOvr>
  <p:hf hd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Content - one column">
    <p:bg>
      <p:bgPr>
        <a:solidFill>
          <a:srgbClr val="FF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4224" y="481665"/>
            <a:ext cx="10620375" cy="1052240"/>
          </a:xfrm>
        </p:spPr>
        <p:txBody>
          <a:bodyPr/>
          <a:lstStyle>
            <a:lvl1pPr>
              <a:lnSpc>
                <a:spcPct val="90000"/>
              </a:lnSpc>
              <a:defRPr baseline="0"/>
            </a:lvl1pPr>
          </a:lstStyle>
          <a:p>
            <a:r>
              <a:rPr lang="en-GB" noProof="0" dirty="0"/>
              <a:t>Click to add heading on maximum two row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84226" y="1763713"/>
            <a:ext cx="10621962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en-GB" noProof="0" smtClean="0"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388249043"/>
      </p:ext>
    </p:extLst>
  </p:cSld>
  <p:clrMapOvr>
    <a:masterClrMapping/>
  </p:clrMapOvr>
  <p:hf hd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Content - one column">
    <p:bg>
      <p:bgPr>
        <a:solidFill>
          <a:srgbClr val="EBF9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4224" y="481665"/>
            <a:ext cx="10620375" cy="1052240"/>
          </a:xfrm>
        </p:spPr>
        <p:txBody>
          <a:bodyPr/>
          <a:lstStyle>
            <a:lvl1pPr>
              <a:lnSpc>
                <a:spcPct val="90000"/>
              </a:lnSpc>
              <a:defRPr baseline="0"/>
            </a:lvl1pPr>
          </a:lstStyle>
          <a:p>
            <a:r>
              <a:rPr lang="en-GB" noProof="0" dirty="0"/>
              <a:t>Click to add heading on maximum two row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84226" y="1763713"/>
            <a:ext cx="10621962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en-GB" noProof="0" smtClean="0"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877560194"/>
      </p:ext>
    </p:extLst>
  </p:cSld>
  <p:clrMapOvr>
    <a:masterClrMapping/>
  </p:clrMapOvr>
  <p:hf hdr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 -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4224" y="481665"/>
            <a:ext cx="10620375" cy="1052240"/>
          </a:xfrm>
        </p:spPr>
        <p:txBody>
          <a:bodyPr/>
          <a:lstStyle>
            <a:lvl1pPr>
              <a:lnSpc>
                <a:spcPct val="90000"/>
              </a:lnSpc>
              <a:defRPr baseline="0"/>
            </a:lvl1pPr>
          </a:lstStyle>
          <a:p>
            <a:r>
              <a:rPr lang="en-GB" noProof="0" dirty="0"/>
              <a:t>Click to add heading on maximum two rows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787399" y="1013791"/>
            <a:ext cx="9178925" cy="516835"/>
          </a:xfrm>
        </p:spPr>
        <p:txBody>
          <a:bodyPr/>
          <a:lstStyle>
            <a:lvl1pPr marL="0" indent="0" algn="l">
              <a:buNone/>
              <a:defRPr sz="2400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 heading on maximum one row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84224" y="1763713"/>
            <a:ext cx="10621963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en-GB" noProof="0" smtClean="0"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3228779"/>
      </p:ext>
    </p:extLst>
  </p:cSld>
  <p:clrMapOvr>
    <a:masterClrMapping/>
  </p:clrMapOvr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 oak shape B">
    <p:bg>
      <p:bgPr>
        <a:solidFill>
          <a:srgbClr val="F8DB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objekt 3">
            <a:extLst>
              <a:ext uri="{FF2B5EF4-FFF2-40B4-BE49-F238E27FC236}">
                <a16:creationId xmlns:a16="http://schemas.microsoft.com/office/drawing/2014/main" id="{58D7241C-1382-42A0-91AA-EBCB856DB47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2" name="Logo">
            <a:extLst>
              <a:ext uri="{FF2B5EF4-FFF2-40B4-BE49-F238E27FC236}">
                <a16:creationId xmlns:a16="http://schemas.microsoft.com/office/drawing/2014/main" id="{D85C6594-A61F-4F9B-8E7A-CB490490C7B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058708" y="277629"/>
            <a:ext cx="2851340" cy="612378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3EF108A4-48E9-4320-B99B-17F12B02E3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638" y="2333233"/>
            <a:ext cx="10623550" cy="1861077"/>
          </a:xfrm>
        </p:spPr>
        <p:txBody>
          <a:bodyPr anchor="ctr" anchorCtr="0"/>
          <a:lstStyle>
            <a:lvl1pPr algn="ctr">
              <a:lnSpc>
                <a:spcPct val="90000"/>
              </a:lnSpc>
              <a:defRPr sz="6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 on </a:t>
            </a:r>
            <a:br>
              <a:rPr lang="en-US" dirty="0"/>
            </a:br>
            <a:r>
              <a:rPr lang="en-US" dirty="0"/>
              <a:t>max two rows</a:t>
            </a:r>
            <a:endParaRPr lang="en-GB" dirty="0"/>
          </a:p>
        </p:txBody>
      </p:sp>
      <p:sp>
        <p:nvSpPr>
          <p:cNvPr id="17" name="Text Placeholder 20">
            <a:extLst>
              <a:ext uri="{FF2B5EF4-FFF2-40B4-BE49-F238E27FC236}">
                <a16:creationId xmlns:a16="http://schemas.microsoft.com/office/drawing/2014/main" id="{D82221A3-F8B6-4734-B404-8D27C11EB4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20913" y="4522577"/>
            <a:ext cx="7745412" cy="720000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b="0">
                <a:solidFill>
                  <a:schemeClr val="bg1"/>
                </a:solidFill>
                <a:latin typeface="Swedbank Headline Bold" panose="02000000000000000000" pitchFamily="50" charset="0"/>
              </a:defRPr>
            </a:lvl1pPr>
            <a:lvl2pPr marL="216000" indent="0" algn="ctr">
              <a:buNone/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image" descr="{&quot;templafy&quot;:{&quot;type&quot;:&quot;image&quot;,&quot;binding&quot;:&quot;Form.InformationClasses.BoxfrontPP&quot;,&quot;inheritDimensions&quot;:&quot;inheritNone&quot;,&quot;width&quot;:&quot;&quot;,&quot;height&quot;:&quot;0.98 cm&quot;,&quot;visibility&quot;:{&quot;action&quot;:&quot;hide&quot;,&quot;compareValue&quot;:&quot;Confidential&quot;,&quot;binding&quot;:&quot;Form.InformationClasses.Term&quot;,&quot;operator&quot;:&quot;notEquals&quot;}}}" title="Form.InformationClasses.BoxfrontPP">
            <a:extLst>
              <a:ext uri="{FF2B5EF4-FFF2-40B4-BE49-F238E27FC236}">
                <a16:creationId xmlns:a16="http://schemas.microsoft.com/office/drawing/2014/main" id="{CF324CE7-5FD2-4135-A4F0-D1700EE5B6C9}"/>
              </a:ext>
            </a:extLst>
          </p:cNvPr>
          <p:cNvSpPr/>
          <p:nvPr userDrawn="1"/>
        </p:nvSpPr>
        <p:spPr>
          <a:xfrm>
            <a:off x="-2707" y="354123"/>
            <a:ext cx="1839621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rIns="162000" rtlCol="0" anchor="ctr"/>
          <a:lstStyle/>
          <a:p>
            <a:pPr algn="r">
              <a:spcBef>
                <a:spcPts val="600"/>
              </a:spcBef>
            </a:pPr>
            <a:endParaRPr lang="en-GB" sz="1400" noProof="0" dirty="0">
              <a:solidFill>
                <a:schemeClr val="bg2"/>
              </a:solidFill>
            </a:endParaRPr>
          </a:p>
        </p:txBody>
      </p:sp>
      <p:sp>
        <p:nvSpPr>
          <p:cNvPr id="15" name="text" descr="{&quot;templafy&quot;:{&quot;type&quot;:&quot;text&quot;,&quot;binding&quot;:&quot;Form.InformationClasses.TermfrontPP&quot;}}" title="Form.InformationClasses.TermfrontPP">
            <a:extLst>
              <a:ext uri="{FF2B5EF4-FFF2-40B4-BE49-F238E27FC236}">
                <a16:creationId xmlns:a16="http://schemas.microsoft.com/office/drawing/2014/main" id="{D8596AB6-34EE-4DCB-8692-FD8862748755}"/>
              </a:ext>
            </a:extLst>
          </p:cNvPr>
          <p:cNvSpPr/>
          <p:nvPr userDrawn="1"/>
        </p:nvSpPr>
        <p:spPr>
          <a:xfrm>
            <a:off x="-2707" y="354123"/>
            <a:ext cx="1839621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rIns="162000" rtlCol="0" anchor="ctr"/>
          <a:lstStyle/>
          <a:p>
            <a:pPr algn="r">
              <a:spcBef>
                <a:spcPts val="600"/>
              </a:spcBef>
            </a:pPr>
            <a:endParaRPr lang="en-GB" sz="1400" noProof="0" dirty="0">
              <a:solidFill>
                <a:srgbClr val="FF5F00"/>
              </a:solidFill>
              <a:latin typeface="Swedbank Headline Bold" panose="020000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470320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 -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>
            <a:extLst>
              <a:ext uri="{FF2B5EF4-FFF2-40B4-BE49-F238E27FC236}">
                <a16:creationId xmlns:a16="http://schemas.microsoft.com/office/drawing/2014/main" id="{40BA2930-8025-4C2C-B4B4-60F0A01ACCCB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787399" y="482162"/>
            <a:ext cx="9178925" cy="516835"/>
          </a:xfrm>
        </p:spPr>
        <p:txBody>
          <a:bodyPr/>
          <a:lstStyle>
            <a:lvl1pPr marL="0" indent="0" algn="l">
              <a:buNone/>
              <a:defRPr sz="2400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 heading on maximum one row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4224" y="998997"/>
            <a:ext cx="10620375" cy="534907"/>
          </a:xfrm>
        </p:spPr>
        <p:txBody>
          <a:bodyPr/>
          <a:lstStyle>
            <a:lvl1pPr>
              <a:lnSpc>
                <a:spcPct val="90000"/>
              </a:lnSpc>
              <a:defRPr baseline="0"/>
            </a:lvl1pPr>
          </a:lstStyle>
          <a:p>
            <a:r>
              <a:rPr lang="en-GB" noProof="0" dirty="0"/>
              <a:t>Click to add heading on maximum one row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84224" y="1763713"/>
            <a:ext cx="10621963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en-GB" noProof="0" smtClean="0"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68624680"/>
      </p:ext>
    </p:extLst>
  </p:cSld>
  <p:clrMapOvr>
    <a:masterClrMapping/>
  </p:clrMapOvr>
  <p:hf hdr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Content -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GB" noProof="0" dirty="0"/>
              <a:t>Click to add heading on maximum two row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84225" y="1763713"/>
            <a:ext cx="6948487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127999" y="1763713"/>
            <a:ext cx="3276601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3602100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Content -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GB" noProof="0" dirty="0"/>
              <a:t>Click to add heading on maximum two row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84226" y="1763713"/>
            <a:ext cx="5111750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91263" y="1763713"/>
            <a:ext cx="5113338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351765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_Content - two columns">
    <p:bg>
      <p:bgPr>
        <a:solidFill>
          <a:srgbClr val="FAEF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GB" noProof="0" dirty="0"/>
              <a:t>Click to add heading on maximum two row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84226" y="1763713"/>
            <a:ext cx="5111750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91263" y="1763713"/>
            <a:ext cx="5113338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4906227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4_Content - two columns">
    <p:bg>
      <p:bgPr>
        <a:solidFill>
          <a:srgbClr val="FF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GB" noProof="0" dirty="0"/>
              <a:t>Click to add heading on maximum two row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84226" y="1763713"/>
            <a:ext cx="5111750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91263" y="1763713"/>
            <a:ext cx="5113338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7402267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5_Content - two columns">
    <p:bg>
      <p:bgPr>
        <a:solidFill>
          <a:srgbClr val="EBF9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GB" noProof="0" dirty="0"/>
              <a:t>Click to add heading on maximum two row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84226" y="1763713"/>
            <a:ext cx="5111750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91263" y="1763713"/>
            <a:ext cx="5113338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7894548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 - two columns">
    <p:bg>
      <p:bgPr>
        <a:solidFill>
          <a:srgbClr val="FAEF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739EB4BE-1358-4A58-A92F-2C27D7EAB55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685247" y="669602"/>
            <a:ext cx="6507953" cy="6188397"/>
          </a:xfrm>
          <a:custGeom>
            <a:avLst/>
            <a:gdLst>
              <a:gd name="connsiteX0" fmla="*/ 5976385 w 6507953"/>
              <a:gd name="connsiteY0" fmla="*/ 0 h 6188397"/>
              <a:gd name="connsiteX1" fmla="*/ 6507953 w 6507953"/>
              <a:gd name="connsiteY1" fmla="*/ 71964 h 6188397"/>
              <a:gd name="connsiteX2" fmla="*/ 6507953 w 6507953"/>
              <a:gd name="connsiteY2" fmla="*/ 6188397 h 6188397"/>
              <a:gd name="connsiteX3" fmla="*/ 0 w 6507953"/>
              <a:gd name="connsiteY3" fmla="*/ 6188397 h 6188397"/>
              <a:gd name="connsiteX4" fmla="*/ 81396 w 6507953"/>
              <a:gd name="connsiteY4" fmla="*/ 6094197 h 6188397"/>
              <a:gd name="connsiteX5" fmla="*/ 450649 w 6507953"/>
              <a:gd name="connsiteY5" fmla="*/ 4839242 h 6188397"/>
              <a:gd name="connsiteX6" fmla="*/ 944112 w 6507953"/>
              <a:gd name="connsiteY6" fmla="*/ 2677453 h 6188397"/>
              <a:gd name="connsiteX7" fmla="*/ 2415927 w 6507953"/>
              <a:gd name="connsiteY7" fmla="*/ 1921114 h 6188397"/>
              <a:gd name="connsiteX8" fmla="*/ 3628626 w 6507953"/>
              <a:gd name="connsiteY8" fmla="*/ 557128 h 6188397"/>
              <a:gd name="connsiteX9" fmla="*/ 4675091 w 6507953"/>
              <a:gd name="connsiteY9" fmla="*/ 530439 h 6188397"/>
              <a:gd name="connsiteX10" fmla="*/ 5976385 w 6507953"/>
              <a:gd name="connsiteY10" fmla="*/ 0 h 61883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507953" h="6188397">
                <a:moveTo>
                  <a:pt x="5976385" y="0"/>
                </a:moveTo>
                <a:cubicBezTo>
                  <a:pt x="6173580" y="0"/>
                  <a:pt x="6347435" y="30501"/>
                  <a:pt x="6507953" y="71964"/>
                </a:cubicBezTo>
                <a:lnTo>
                  <a:pt x="6507953" y="6188397"/>
                </a:lnTo>
                <a:lnTo>
                  <a:pt x="0" y="6188397"/>
                </a:lnTo>
                <a:lnTo>
                  <a:pt x="81396" y="6094197"/>
                </a:lnTo>
                <a:cubicBezTo>
                  <a:pt x="451738" y="5616923"/>
                  <a:pt x="27324" y="5360656"/>
                  <a:pt x="450649" y="4839242"/>
                </a:cubicBezTo>
                <a:cubicBezTo>
                  <a:pt x="919344" y="4262098"/>
                  <a:pt x="394444" y="3377557"/>
                  <a:pt x="944112" y="2677453"/>
                </a:cubicBezTo>
                <a:cubicBezTo>
                  <a:pt x="1484254" y="1989742"/>
                  <a:pt x="1470917" y="2519227"/>
                  <a:pt x="2415927" y="1921114"/>
                </a:cubicBezTo>
                <a:cubicBezTo>
                  <a:pt x="3127542" y="1470264"/>
                  <a:pt x="2353530" y="835930"/>
                  <a:pt x="3628626" y="557128"/>
                </a:cubicBezTo>
                <a:cubicBezTo>
                  <a:pt x="4098273" y="454662"/>
                  <a:pt x="4275939" y="634811"/>
                  <a:pt x="4675091" y="530439"/>
                </a:cubicBezTo>
                <a:cubicBezTo>
                  <a:pt x="5240001" y="383174"/>
                  <a:pt x="5359080" y="0"/>
                  <a:pt x="597638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lIns="3528000" tIns="1080000" rIns="180000" anchor="t" anchorCtr="0">
            <a:noAutofit/>
          </a:bodyPr>
          <a:lstStyle>
            <a:lvl1pPr marL="0" indent="0" algn="r">
              <a:buNone/>
              <a:defRPr sz="2400"/>
            </a:lvl1pPr>
          </a:lstStyle>
          <a:p>
            <a:r>
              <a:rPr lang="en-GB" dirty="0"/>
              <a:t>Add an image: Click here, insert image via Templafy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784225" y="481665"/>
            <a:ext cx="7860045" cy="105224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GB" noProof="0" dirty="0"/>
              <a:t>Click to add heading on maximum two row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 userDrawn="1">
            <p:ph sz="half" idx="1" hasCustomPrompt="1"/>
          </p:nvPr>
        </p:nvSpPr>
        <p:spPr>
          <a:xfrm>
            <a:off x="784226" y="1763713"/>
            <a:ext cx="5111750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_DateCustomA"/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LD_PresentationTitle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3880738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ntent - two columns">
    <p:bg>
      <p:bgPr>
        <a:solidFill>
          <a:srgbClr val="FF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739EB4BE-1358-4A58-A92F-2C27D7EAB55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685247" y="669602"/>
            <a:ext cx="6507953" cy="6188397"/>
          </a:xfrm>
          <a:custGeom>
            <a:avLst/>
            <a:gdLst>
              <a:gd name="connsiteX0" fmla="*/ 5976385 w 6507953"/>
              <a:gd name="connsiteY0" fmla="*/ 0 h 6188397"/>
              <a:gd name="connsiteX1" fmla="*/ 6507953 w 6507953"/>
              <a:gd name="connsiteY1" fmla="*/ 71964 h 6188397"/>
              <a:gd name="connsiteX2" fmla="*/ 6507953 w 6507953"/>
              <a:gd name="connsiteY2" fmla="*/ 6188397 h 6188397"/>
              <a:gd name="connsiteX3" fmla="*/ 0 w 6507953"/>
              <a:gd name="connsiteY3" fmla="*/ 6188397 h 6188397"/>
              <a:gd name="connsiteX4" fmla="*/ 81396 w 6507953"/>
              <a:gd name="connsiteY4" fmla="*/ 6094197 h 6188397"/>
              <a:gd name="connsiteX5" fmla="*/ 450649 w 6507953"/>
              <a:gd name="connsiteY5" fmla="*/ 4839242 h 6188397"/>
              <a:gd name="connsiteX6" fmla="*/ 944112 w 6507953"/>
              <a:gd name="connsiteY6" fmla="*/ 2677453 h 6188397"/>
              <a:gd name="connsiteX7" fmla="*/ 2415927 w 6507953"/>
              <a:gd name="connsiteY7" fmla="*/ 1921114 h 6188397"/>
              <a:gd name="connsiteX8" fmla="*/ 3628626 w 6507953"/>
              <a:gd name="connsiteY8" fmla="*/ 557128 h 6188397"/>
              <a:gd name="connsiteX9" fmla="*/ 4675091 w 6507953"/>
              <a:gd name="connsiteY9" fmla="*/ 530439 h 6188397"/>
              <a:gd name="connsiteX10" fmla="*/ 5976385 w 6507953"/>
              <a:gd name="connsiteY10" fmla="*/ 0 h 61883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507953" h="6188397">
                <a:moveTo>
                  <a:pt x="5976385" y="0"/>
                </a:moveTo>
                <a:cubicBezTo>
                  <a:pt x="6173580" y="0"/>
                  <a:pt x="6347435" y="30501"/>
                  <a:pt x="6507953" y="71964"/>
                </a:cubicBezTo>
                <a:lnTo>
                  <a:pt x="6507953" y="6188397"/>
                </a:lnTo>
                <a:lnTo>
                  <a:pt x="0" y="6188397"/>
                </a:lnTo>
                <a:lnTo>
                  <a:pt x="81396" y="6094197"/>
                </a:lnTo>
                <a:cubicBezTo>
                  <a:pt x="451738" y="5616923"/>
                  <a:pt x="27324" y="5360656"/>
                  <a:pt x="450649" y="4839242"/>
                </a:cubicBezTo>
                <a:cubicBezTo>
                  <a:pt x="919344" y="4262098"/>
                  <a:pt x="394444" y="3377557"/>
                  <a:pt x="944112" y="2677453"/>
                </a:cubicBezTo>
                <a:cubicBezTo>
                  <a:pt x="1484254" y="1989742"/>
                  <a:pt x="1470917" y="2519227"/>
                  <a:pt x="2415927" y="1921114"/>
                </a:cubicBezTo>
                <a:cubicBezTo>
                  <a:pt x="3127542" y="1470264"/>
                  <a:pt x="2353530" y="835930"/>
                  <a:pt x="3628626" y="557128"/>
                </a:cubicBezTo>
                <a:cubicBezTo>
                  <a:pt x="4098273" y="454662"/>
                  <a:pt x="4275939" y="634811"/>
                  <a:pt x="4675091" y="530439"/>
                </a:cubicBezTo>
                <a:cubicBezTo>
                  <a:pt x="5240001" y="383174"/>
                  <a:pt x="5359080" y="0"/>
                  <a:pt x="597638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lIns="3528000" tIns="1080000" rIns="180000" anchor="t" anchorCtr="0">
            <a:noAutofit/>
          </a:bodyPr>
          <a:lstStyle>
            <a:lvl1pPr marL="0" indent="0" algn="r">
              <a:buNone/>
              <a:defRPr sz="2400"/>
            </a:lvl1pPr>
          </a:lstStyle>
          <a:p>
            <a:r>
              <a:rPr lang="en-GB" dirty="0"/>
              <a:t>Add an image: Click here, insert image via Templafy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784225" y="481665"/>
            <a:ext cx="7860045" cy="105224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GB" noProof="0" dirty="0"/>
              <a:t>Click to add heading on maximum two row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 userDrawn="1">
            <p:ph sz="half" idx="1" hasCustomPrompt="1"/>
          </p:nvPr>
        </p:nvSpPr>
        <p:spPr>
          <a:xfrm>
            <a:off x="784226" y="1763713"/>
            <a:ext cx="5111750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_DateCustomA"/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LD_PresentationTitle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1308819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ntent - two columns">
    <p:bg>
      <p:bgPr>
        <a:solidFill>
          <a:srgbClr val="EBF9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739EB4BE-1358-4A58-A92F-2C27D7EAB55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685247" y="669602"/>
            <a:ext cx="6507953" cy="6188397"/>
          </a:xfrm>
          <a:custGeom>
            <a:avLst/>
            <a:gdLst>
              <a:gd name="connsiteX0" fmla="*/ 5976385 w 6507953"/>
              <a:gd name="connsiteY0" fmla="*/ 0 h 6188397"/>
              <a:gd name="connsiteX1" fmla="*/ 6507953 w 6507953"/>
              <a:gd name="connsiteY1" fmla="*/ 71964 h 6188397"/>
              <a:gd name="connsiteX2" fmla="*/ 6507953 w 6507953"/>
              <a:gd name="connsiteY2" fmla="*/ 6188397 h 6188397"/>
              <a:gd name="connsiteX3" fmla="*/ 0 w 6507953"/>
              <a:gd name="connsiteY3" fmla="*/ 6188397 h 6188397"/>
              <a:gd name="connsiteX4" fmla="*/ 81396 w 6507953"/>
              <a:gd name="connsiteY4" fmla="*/ 6094197 h 6188397"/>
              <a:gd name="connsiteX5" fmla="*/ 450649 w 6507953"/>
              <a:gd name="connsiteY5" fmla="*/ 4839242 h 6188397"/>
              <a:gd name="connsiteX6" fmla="*/ 944112 w 6507953"/>
              <a:gd name="connsiteY6" fmla="*/ 2677453 h 6188397"/>
              <a:gd name="connsiteX7" fmla="*/ 2415927 w 6507953"/>
              <a:gd name="connsiteY7" fmla="*/ 1921114 h 6188397"/>
              <a:gd name="connsiteX8" fmla="*/ 3628626 w 6507953"/>
              <a:gd name="connsiteY8" fmla="*/ 557128 h 6188397"/>
              <a:gd name="connsiteX9" fmla="*/ 4675091 w 6507953"/>
              <a:gd name="connsiteY9" fmla="*/ 530439 h 6188397"/>
              <a:gd name="connsiteX10" fmla="*/ 5976385 w 6507953"/>
              <a:gd name="connsiteY10" fmla="*/ 0 h 61883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507953" h="6188397">
                <a:moveTo>
                  <a:pt x="5976385" y="0"/>
                </a:moveTo>
                <a:cubicBezTo>
                  <a:pt x="6173580" y="0"/>
                  <a:pt x="6347435" y="30501"/>
                  <a:pt x="6507953" y="71964"/>
                </a:cubicBezTo>
                <a:lnTo>
                  <a:pt x="6507953" y="6188397"/>
                </a:lnTo>
                <a:lnTo>
                  <a:pt x="0" y="6188397"/>
                </a:lnTo>
                <a:lnTo>
                  <a:pt x="81396" y="6094197"/>
                </a:lnTo>
                <a:cubicBezTo>
                  <a:pt x="451738" y="5616923"/>
                  <a:pt x="27324" y="5360656"/>
                  <a:pt x="450649" y="4839242"/>
                </a:cubicBezTo>
                <a:cubicBezTo>
                  <a:pt x="919344" y="4262098"/>
                  <a:pt x="394444" y="3377557"/>
                  <a:pt x="944112" y="2677453"/>
                </a:cubicBezTo>
                <a:cubicBezTo>
                  <a:pt x="1484254" y="1989742"/>
                  <a:pt x="1470917" y="2519227"/>
                  <a:pt x="2415927" y="1921114"/>
                </a:cubicBezTo>
                <a:cubicBezTo>
                  <a:pt x="3127542" y="1470264"/>
                  <a:pt x="2353530" y="835930"/>
                  <a:pt x="3628626" y="557128"/>
                </a:cubicBezTo>
                <a:cubicBezTo>
                  <a:pt x="4098273" y="454662"/>
                  <a:pt x="4275939" y="634811"/>
                  <a:pt x="4675091" y="530439"/>
                </a:cubicBezTo>
                <a:cubicBezTo>
                  <a:pt x="5240001" y="383174"/>
                  <a:pt x="5359080" y="0"/>
                  <a:pt x="597638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lIns="3528000" tIns="1080000" rIns="180000" anchor="t" anchorCtr="0">
            <a:noAutofit/>
          </a:bodyPr>
          <a:lstStyle>
            <a:lvl1pPr marL="0" indent="0" algn="r">
              <a:buNone/>
              <a:defRPr sz="2400"/>
            </a:lvl1pPr>
          </a:lstStyle>
          <a:p>
            <a:r>
              <a:rPr lang="en-GB" dirty="0"/>
              <a:t>Add an image: Click here, insert image via Templafy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784225" y="481665"/>
            <a:ext cx="7860045" cy="105224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GB" noProof="0" dirty="0"/>
              <a:t>Click to add heading on maximum two row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 userDrawn="1">
            <p:ph sz="half" idx="1" hasCustomPrompt="1"/>
          </p:nvPr>
        </p:nvSpPr>
        <p:spPr>
          <a:xfrm>
            <a:off x="784226" y="1763713"/>
            <a:ext cx="5111750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_DateCustomA"/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LD_PresentationTitle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1248026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 _Content - two columns">
    <p:bg>
      <p:bgPr>
        <a:solidFill>
          <a:srgbClr val="FAEF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56D3E2AE-17C5-4051-8CFA-81401980D7B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91262" y="0"/>
            <a:ext cx="5900737" cy="6857999"/>
          </a:xfrm>
          <a:solidFill>
            <a:schemeClr val="bg1"/>
          </a:solidFill>
        </p:spPr>
        <p:txBody>
          <a:bodyPr lIns="1080000" tIns="36000" rIns="1080000" anchor="t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200"/>
            </a:lvl1pPr>
          </a:lstStyle>
          <a:p>
            <a:r>
              <a:rPr lang="en-GB" dirty="0"/>
              <a:t>Add an image: Click here, insert image via Templaf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GB" dirty="0"/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4225" y="481665"/>
            <a:ext cx="5111751" cy="105224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GB" noProof="0" dirty="0"/>
              <a:t>Click to add heading on maximum two row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84226" y="1763713"/>
            <a:ext cx="5111750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371286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orange background">
    <p:bg>
      <p:bgPr>
        <a:solidFill>
          <a:srgbClr val="FF5E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FFD127A7-962D-42AA-95EE-BE7697DE2E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638" y="2333233"/>
            <a:ext cx="10623550" cy="1861077"/>
          </a:xfrm>
        </p:spPr>
        <p:txBody>
          <a:bodyPr anchor="ctr" anchorCtr="0"/>
          <a:lstStyle>
            <a:lvl1pPr algn="ctr">
              <a:lnSpc>
                <a:spcPct val="90000"/>
              </a:lnSpc>
              <a:defRPr sz="6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 on </a:t>
            </a:r>
            <a:br>
              <a:rPr lang="en-US" dirty="0"/>
            </a:br>
            <a:r>
              <a:rPr lang="en-US" dirty="0"/>
              <a:t>max two rows</a:t>
            </a:r>
            <a:endParaRPr lang="en-GB" dirty="0"/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D4130A02-9CAF-430B-94BA-0E080566F33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20913" y="4522577"/>
            <a:ext cx="7745412" cy="720000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b="0">
                <a:solidFill>
                  <a:schemeClr val="bg1"/>
                </a:solidFill>
                <a:latin typeface="Swedbank Headline Bold" panose="02000000000000000000" pitchFamily="50" charset="0"/>
              </a:defRPr>
            </a:lvl1pPr>
            <a:lvl2pPr marL="216000" indent="0" algn="ctr">
              <a:buNone/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D85C6594-A61F-4F9B-8E7A-CB490490C7B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058708" y="277629"/>
            <a:ext cx="2851340" cy="612378"/>
          </a:xfrm>
          <a:prstGeom prst="rect">
            <a:avLst/>
          </a:prstGeom>
        </p:spPr>
      </p:pic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image" descr="{&quot;templafy&quot;:{&quot;type&quot;:&quot;image&quot;,&quot;binding&quot;:&quot;Form.InformationClasses.BoxfrontPP&quot;,&quot;inheritDimensions&quot;:&quot;inheritNone&quot;,&quot;width&quot;:&quot;&quot;,&quot;height&quot;:&quot;0.98 cm&quot;,&quot;visibility&quot;:{&quot;action&quot;:&quot;hide&quot;,&quot;compareValue&quot;:&quot;Confidential&quot;,&quot;binding&quot;:&quot;Form.InformationClasses.Term&quot;,&quot;operator&quot;:&quot;notEquals&quot;}}}" title="Form.InformationClasses.BoxfrontPP">
            <a:extLst>
              <a:ext uri="{FF2B5EF4-FFF2-40B4-BE49-F238E27FC236}">
                <a16:creationId xmlns:a16="http://schemas.microsoft.com/office/drawing/2014/main" id="{6299223B-889F-4629-A3FC-BA5DDD48F2FE}"/>
              </a:ext>
            </a:extLst>
          </p:cNvPr>
          <p:cNvSpPr/>
          <p:nvPr userDrawn="1"/>
        </p:nvSpPr>
        <p:spPr>
          <a:xfrm>
            <a:off x="-2707" y="354123"/>
            <a:ext cx="1839621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rIns="162000" rtlCol="0" anchor="ctr"/>
          <a:lstStyle/>
          <a:p>
            <a:pPr algn="r">
              <a:spcBef>
                <a:spcPts val="600"/>
              </a:spcBef>
            </a:pPr>
            <a:endParaRPr lang="en-GB" sz="1400" noProof="0" dirty="0">
              <a:solidFill>
                <a:schemeClr val="bg2"/>
              </a:solidFill>
            </a:endParaRPr>
          </a:p>
        </p:txBody>
      </p:sp>
      <p:sp>
        <p:nvSpPr>
          <p:cNvPr id="15" name="text" descr="{&quot;templafy&quot;:{&quot;type&quot;:&quot;text&quot;,&quot;binding&quot;:&quot;Form.InformationClasses.TermfrontPP&quot;}}" title="Form.InformationClasses.TermfrontPP">
            <a:extLst>
              <a:ext uri="{FF2B5EF4-FFF2-40B4-BE49-F238E27FC236}">
                <a16:creationId xmlns:a16="http://schemas.microsoft.com/office/drawing/2014/main" id="{462FC8BB-FEA5-49FC-8A04-99F7215C0309}"/>
              </a:ext>
            </a:extLst>
          </p:cNvPr>
          <p:cNvSpPr/>
          <p:nvPr userDrawn="1"/>
        </p:nvSpPr>
        <p:spPr>
          <a:xfrm>
            <a:off x="-2707" y="354123"/>
            <a:ext cx="1839621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rIns="162000" rtlCol="0" anchor="ctr"/>
          <a:lstStyle/>
          <a:p>
            <a:pPr algn="r">
              <a:spcBef>
                <a:spcPts val="600"/>
              </a:spcBef>
            </a:pPr>
            <a:endParaRPr lang="en-GB" sz="1400" noProof="0" dirty="0">
              <a:solidFill>
                <a:srgbClr val="FF5F00"/>
              </a:solidFill>
              <a:latin typeface="Swedbank Headline Bold" panose="020000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831422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ntent - two columns">
    <p:bg>
      <p:bgPr>
        <a:solidFill>
          <a:srgbClr val="FF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56D3E2AE-17C5-4051-8CFA-81401980D7B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91262" y="0"/>
            <a:ext cx="5900737" cy="6857999"/>
          </a:xfrm>
          <a:solidFill>
            <a:schemeClr val="bg1"/>
          </a:solidFill>
        </p:spPr>
        <p:txBody>
          <a:bodyPr lIns="1080000" tIns="36000" rIns="1080000" anchor="t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200"/>
            </a:lvl1pPr>
          </a:lstStyle>
          <a:p>
            <a:r>
              <a:rPr lang="en-GB" dirty="0"/>
              <a:t>Add an image: Click here, insert image via Templaf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GB" dirty="0"/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4225" y="481665"/>
            <a:ext cx="5111751" cy="105224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GB" noProof="0" dirty="0"/>
              <a:t>Click to add heading on maximum two row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84226" y="1763713"/>
            <a:ext cx="5111750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2521591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ntent - two columns">
    <p:bg>
      <p:bgPr>
        <a:solidFill>
          <a:srgbClr val="EBF9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56D3E2AE-17C5-4051-8CFA-81401980D7B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91262" y="0"/>
            <a:ext cx="5900737" cy="6857999"/>
          </a:xfrm>
          <a:solidFill>
            <a:schemeClr val="bg1"/>
          </a:solidFill>
        </p:spPr>
        <p:txBody>
          <a:bodyPr lIns="1080000" tIns="36000" rIns="1080000" anchor="t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200"/>
            </a:lvl1pPr>
          </a:lstStyle>
          <a:p>
            <a:r>
              <a:rPr lang="en-GB" dirty="0"/>
              <a:t>Add an image: Click here, insert image via Templaf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GB" dirty="0"/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4225" y="481665"/>
            <a:ext cx="5111751" cy="105224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GB" noProof="0" dirty="0"/>
              <a:t>Click to add heading on maximum two row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84226" y="1763713"/>
            <a:ext cx="5111750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388268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-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GB" noProof="0" dirty="0"/>
              <a:t>Click to add heading on maximum two row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84226" y="1763713"/>
            <a:ext cx="3275012" cy="41751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56800" y="1763713"/>
            <a:ext cx="3275913" cy="417512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8130274" y="1763713"/>
            <a:ext cx="3274325" cy="41751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5236600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-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GB" noProof="0" dirty="0"/>
              <a:t>Click to add heading on maximum two rows</a:t>
            </a:r>
            <a:endParaRPr lang="en-GB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784799" y="2534477"/>
            <a:ext cx="3276000" cy="3407535"/>
          </a:xfrm>
          <a:solidFill>
            <a:srgbClr val="FAEFE5"/>
          </a:solidFill>
        </p:spPr>
        <p:txBody>
          <a:bodyPr lIns="288000" tIns="306000" rIns="288000"/>
          <a:lstStyle>
            <a:lvl1pPr marL="268288" indent="-268288">
              <a:spcBef>
                <a:spcPts val="600"/>
              </a:spcBef>
              <a:buClr>
                <a:srgbClr val="FF5F00"/>
              </a:buClr>
              <a:buFont typeface="Arial" panose="020B0604020202020204" pitchFamily="34" charset="0"/>
              <a:buChar char="●"/>
              <a:defRPr/>
            </a:lvl1pPr>
            <a:lvl2pPr>
              <a:buClr>
                <a:srgbClr val="FF5F00"/>
              </a:buClr>
              <a:defRPr/>
            </a:lvl2pPr>
            <a:lvl3pPr>
              <a:buClr>
                <a:srgbClr val="FF5F00"/>
              </a:buClr>
              <a:defRPr/>
            </a:lvl3pPr>
            <a:lvl4pPr>
              <a:buClr>
                <a:srgbClr val="FF5F00"/>
              </a:buClr>
              <a:defRPr/>
            </a:lvl4pPr>
            <a:lvl5pPr>
              <a:buClr>
                <a:srgbClr val="FF5F00"/>
              </a:buClr>
              <a:defRPr/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456799" y="2534477"/>
            <a:ext cx="3276000" cy="3407536"/>
          </a:xfrm>
          <a:solidFill>
            <a:srgbClr val="FAEFE5"/>
          </a:solidFill>
        </p:spPr>
        <p:txBody>
          <a:bodyPr lIns="288000" tIns="306000" rIns="288000"/>
          <a:lstStyle>
            <a:lvl1pPr marL="268288" indent="-268288"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●"/>
              <a:defRPr/>
            </a:lvl1pPr>
            <a:lvl2pPr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>
              <a:buClr>
                <a:schemeClr val="accent3"/>
              </a:buClr>
              <a:defRPr/>
            </a:lvl4pPr>
            <a:lvl5pPr>
              <a:buClr>
                <a:schemeClr val="accent3"/>
              </a:buClr>
              <a:defRPr/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8128800" y="2534477"/>
            <a:ext cx="3276000" cy="3407536"/>
          </a:xfrm>
          <a:solidFill>
            <a:srgbClr val="FAEFE5"/>
          </a:solidFill>
        </p:spPr>
        <p:txBody>
          <a:bodyPr lIns="288000" tIns="306000" rIns="288000"/>
          <a:lstStyle>
            <a:lvl1pPr marL="268288" indent="-268288">
              <a:spcBef>
                <a:spcPts val="600"/>
              </a:spcBef>
              <a:buClr>
                <a:srgbClr val="C5569A"/>
              </a:buClr>
              <a:buFont typeface="Arial" panose="020B0604020202020204" pitchFamily="34" charset="0"/>
              <a:buChar char="●"/>
              <a:defRPr/>
            </a:lvl1pPr>
            <a:lvl2pPr>
              <a:buClr>
                <a:srgbClr val="C5569A"/>
              </a:buClr>
              <a:defRPr/>
            </a:lvl2pPr>
            <a:lvl3pPr>
              <a:buClr>
                <a:srgbClr val="C5569A"/>
              </a:buClr>
              <a:defRPr/>
            </a:lvl3pPr>
            <a:lvl4pPr>
              <a:buClr>
                <a:srgbClr val="C5569A"/>
              </a:buClr>
              <a:defRPr/>
            </a:lvl4pPr>
            <a:lvl5pPr>
              <a:buClr>
                <a:srgbClr val="C5569A"/>
              </a:buClr>
              <a:defRPr/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787400" y="1836739"/>
            <a:ext cx="3275013" cy="717617"/>
          </a:xfrm>
          <a:solidFill>
            <a:srgbClr val="FF5F00"/>
          </a:solidFill>
        </p:spPr>
        <p:txBody>
          <a:bodyPr lIns="288000" rIns="288000" anchor="ctr" anchorCtr="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9pPr>
          </a:lstStyle>
          <a:p>
            <a:pPr lvl="0"/>
            <a:r>
              <a:rPr lang="en-US" dirty="0"/>
              <a:t>Click to add header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459256" y="1836738"/>
            <a:ext cx="3275013" cy="717617"/>
          </a:xfrm>
          <a:solidFill>
            <a:schemeClr val="accent3"/>
          </a:solidFill>
        </p:spPr>
        <p:txBody>
          <a:bodyPr lIns="288000" rIns="288000" anchor="ctr" anchorCtr="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9pPr>
          </a:lstStyle>
          <a:p>
            <a:pPr lvl="0"/>
            <a:r>
              <a:rPr lang="en-US" dirty="0"/>
              <a:t>Click to add header</a:t>
            </a:r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8129588" y="1836739"/>
            <a:ext cx="3275013" cy="717617"/>
          </a:xfrm>
          <a:solidFill>
            <a:srgbClr val="C5569A"/>
          </a:solidFill>
        </p:spPr>
        <p:txBody>
          <a:bodyPr lIns="288000" rIns="288000" anchor="ctr" anchorCtr="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9pPr>
          </a:lstStyle>
          <a:p>
            <a:pPr lvl="0"/>
            <a:r>
              <a:rPr lang="en-US" dirty="0"/>
              <a:t>Click to add header</a:t>
            </a:r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1926413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-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GB" noProof="0" dirty="0"/>
              <a:t>Click to add heading on maximum two rows</a:t>
            </a:r>
            <a:endParaRPr lang="en-GB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784799" y="2534477"/>
            <a:ext cx="3276000" cy="3407535"/>
          </a:xfrm>
          <a:solidFill>
            <a:srgbClr val="FAEFE5"/>
          </a:solidFill>
        </p:spPr>
        <p:txBody>
          <a:bodyPr lIns="288000" tIns="306000" rIns="288000"/>
          <a:lstStyle>
            <a:lvl1pPr marL="268288" indent="-268288">
              <a:spcBef>
                <a:spcPts val="600"/>
              </a:spcBef>
              <a:buClr>
                <a:srgbClr val="FF5F00"/>
              </a:buClr>
              <a:buFont typeface="Arial" panose="020B0604020202020204" pitchFamily="34" charset="0"/>
              <a:buChar char="●"/>
              <a:defRPr/>
            </a:lvl1pPr>
            <a:lvl2pPr>
              <a:buClr>
                <a:srgbClr val="FF5F00"/>
              </a:buClr>
              <a:defRPr/>
            </a:lvl2pPr>
            <a:lvl3pPr>
              <a:buClr>
                <a:srgbClr val="FF5F00"/>
              </a:buClr>
              <a:defRPr/>
            </a:lvl3pPr>
            <a:lvl4pPr>
              <a:buClr>
                <a:srgbClr val="FF5F00"/>
              </a:buClr>
              <a:defRPr/>
            </a:lvl4pPr>
            <a:lvl5pPr>
              <a:buClr>
                <a:srgbClr val="FF5F00"/>
              </a:buClr>
              <a:defRPr/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456799" y="2534477"/>
            <a:ext cx="3276000" cy="3407536"/>
          </a:xfrm>
          <a:solidFill>
            <a:srgbClr val="FAEFE5"/>
          </a:solidFill>
        </p:spPr>
        <p:txBody>
          <a:bodyPr lIns="288000" tIns="306000" rIns="288000"/>
          <a:lstStyle>
            <a:lvl1pPr marL="268288" indent="-268288">
              <a:spcBef>
                <a:spcPts val="600"/>
              </a:spcBef>
              <a:buClr>
                <a:srgbClr val="FF9102"/>
              </a:buClr>
              <a:buFont typeface="Arial" panose="020B0604020202020204" pitchFamily="34" charset="0"/>
              <a:buChar char="●"/>
              <a:defRPr/>
            </a:lvl1pPr>
            <a:lvl2pPr>
              <a:buClr>
                <a:schemeClr val="accent5"/>
              </a:buClr>
              <a:defRPr/>
            </a:lvl2pPr>
            <a:lvl3pPr>
              <a:buClr>
                <a:schemeClr val="accent5"/>
              </a:buClr>
              <a:defRPr/>
            </a:lvl3pPr>
            <a:lvl4pPr>
              <a:buClr>
                <a:schemeClr val="accent5"/>
              </a:buClr>
              <a:defRPr/>
            </a:lvl4pPr>
            <a:lvl5pPr>
              <a:buClr>
                <a:srgbClr val="FF9102"/>
              </a:buClr>
              <a:defRPr/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8128800" y="2534477"/>
            <a:ext cx="3276000" cy="3407536"/>
          </a:xfrm>
          <a:solidFill>
            <a:srgbClr val="FAEFE5"/>
          </a:solidFill>
        </p:spPr>
        <p:txBody>
          <a:bodyPr lIns="288000" tIns="306000" rIns="288000"/>
          <a:lstStyle>
            <a:lvl1pPr marL="268288" indent="-268288">
              <a:spcBef>
                <a:spcPts val="600"/>
              </a:spcBef>
              <a:buClr>
                <a:srgbClr val="FDC92A"/>
              </a:buClr>
              <a:buFont typeface="Arial" panose="020B0604020202020204" pitchFamily="34" charset="0"/>
              <a:buChar char="●"/>
              <a:defRPr/>
            </a:lvl1pPr>
            <a:lvl2pPr>
              <a:buClr>
                <a:srgbClr val="FDC92A"/>
              </a:buClr>
              <a:defRPr/>
            </a:lvl2pPr>
            <a:lvl3pPr>
              <a:buClr>
                <a:srgbClr val="FDC92A"/>
              </a:buClr>
              <a:defRPr/>
            </a:lvl3pPr>
            <a:lvl4pPr>
              <a:buClr>
                <a:srgbClr val="FDC92A"/>
              </a:buClr>
              <a:defRPr/>
            </a:lvl4pPr>
            <a:lvl5pPr>
              <a:buClr>
                <a:srgbClr val="FDC92A"/>
              </a:buClr>
              <a:defRPr/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787400" y="1836739"/>
            <a:ext cx="3275013" cy="717617"/>
          </a:xfrm>
          <a:solidFill>
            <a:srgbClr val="FF5F00"/>
          </a:solidFill>
        </p:spPr>
        <p:txBody>
          <a:bodyPr lIns="288000" rIns="288000" anchor="ctr" anchorCtr="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9pPr>
          </a:lstStyle>
          <a:p>
            <a:pPr lvl="0"/>
            <a:r>
              <a:rPr lang="en-US" dirty="0"/>
              <a:t>Click to add header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459256" y="1836738"/>
            <a:ext cx="3275013" cy="717617"/>
          </a:xfrm>
          <a:solidFill>
            <a:srgbClr val="FF9102"/>
          </a:solidFill>
        </p:spPr>
        <p:txBody>
          <a:bodyPr lIns="288000" rIns="288000" anchor="ctr" anchorCtr="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9pPr>
          </a:lstStyle>
          <a:p>
            <a:pPr lvl="0"/>
            <a:r>
              <a:rPr lang="en-US" dirty="0"/>
              <a:t>Click to add header</a:t>
            </a:r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8129588" y="1836739"/>
            <a:ext cx="3275013" cy="717617"/>
          </a:xfrm>
          <a:solidFill>
            <a:schemeClr val="accent2"/>
          </a:solidFill>
        </p:spPr>
        <p:txBody>
          <a:bodyPr lIns="288000" rIns="288000" anchor="ctr" anchorCtr="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9pPr>
          </a:lstStyle>
          <a:p>
            <a:pPr lvl="0"/>
            <a:r>
              <a:rPr lang="en-US" dirty="0"/>
              <a:t>Click to add header</a:t>
            </a:r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124786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graphical element">
    <p:bg>
      <p:bgPr>
        <a:solidFill>
          <a:srgbClr val="EBF9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 baseline="0"/>
            </a:lvl1pPr>
          </a:lstStyle>
          <a:p>
            <a:r>
              <a:rPr lang="en-GB" noProof="0" dirty="0"/>
              <a:t>Click to add heading on maximum two row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84226" y="1763713"/>
            <a:ext cx="6948488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4511A51-2A2A-4300-BF46-3C3CB9228A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21246" y="1746000"/>
            <a:ext cx="3484800" cy="3868322"/>
          </a:xfrm>
          <a:custGeom>
            <a:avLst/>
            <a:gdLst>
              <a:gd name="connsiteX0" fmla="*/ 1700043 w 3484800"/>
              <a:gd name="connsiteY0" fmla="*/ 0 h 3868322"/>
              <a:gd name="connsiteX1" fmla="*/ 1784318 w 3484800"/>
              <a:gd name="connsiteY1" fmla="*/ 0 h 3868322"/>
              <a:gd name="connsiteX2" fmla="*/ 1901903 w 3484800"/>
              <a:gd name="connsiteY2" fmla="*/ 4700 h 3868322"/>
              <a:gd name="connsiteX3" fmla="*/ 3484612 w 3484800"/>
              <a:gd name="connsiteY3" fmla="*/ 1625550 h 3868322"/>
              <a:gd name="connsiteX4" fmla="*/ 1742402 w 3484800"/>
              <a:gd name="connsiteY4" fmla="*/ 3868322 h 3868322"/>
              <a:gd name="connsiteX5" fmla="*/ 192 w 3484800"/>
              <a:gd name="connsiteY5" fmla="*/ 1625550 h 3868322"/>
              <a:gd name="connsiteX6" fmla="*/ 1582754 w 3484800"/>
              <a:gd name="connsiteY6" fmla="*/ 4656 h 3868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484800" h="3868322">
                <a:moveTo>
                  <a:pt x="1700043" y="0"/>
                </a:moveTo>
                <a:lnTo>
                  <a:pt x="1784318" y="0"/>
                </a:lnTo>
                <a:lnTo>
                  <a:pt x="1901903" y="4700"/>
                </a:lnTo>
                <a:cubicBezTo>
                  <a:pt x="2697790" y="68375"/>
                  <a:pt x="3448975" y="608757"/>
                  <a:pt x="3484612" y="1625550"/>
                </a:cubicBezTo>
                <a:cubicBezTo>
                  <a:pt x="3501632" y="3093953"/>
                  <a:pt x="2363555" y="3042913"/>
                  <a:pt x="1742402" y="3868322"/>
                </a:cubicBezTo>
                <a:cubicBezTo>
                  <a:pt x="1121348" y="3043135"/>
                  <a:pt x="-16975" y="3093584"/>
                  <a:pt x="192" y="1625550"/>
                </a:cubicBezTo>
                <a:cubicBezTo>
                  <a:pt x="35737" y="608308"/>
                  <a:pt x="786873" y="68108"/>
                  <a:pt x="1582754" y="4656"/>
                </a:cubicBezTo>
                <a:close/>
              </a:path>
            </a:pathLst>
          </a:custGeom>
          <a:solidFill>
            <a:srgbClr val="FF5F00"/>
          </a:solidFill>
        </p:spPr>
        <p:txBody>
          <a:bodyPr wrap="square" lIns="108000" tIns="0" rIns="108000" bIns="360000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2800">
                <a:solidFill>
                  <a:schemeClr val="bg1"/>
                </a:solidFill>
                <a:latin typeface="Swedbank Headline Bold" panose="02000000000000000000" pitchFamily="50" charset="0"/>
              </a:defRPr>
            </a:lvl1pPr>
            <a:lvl2pPr marL="0" indent="0" algn="ctr">
              <a:buNone/>
              <a:defRPr/>
            </a:lvl2pPr>
            <a:lvl3pPr marL="0" indent="0" algn="ctr">
              <a:buNone/>
              <a:defRPr/>
            </a:lvl3pPr>
            <a:lvl4pPr marL="0" indent="0" algn="ctr">
              <a:buNone/>
              <a:defRPr/>
            </a:lvl4pPr>
            <a:lvl5pPr marL="0" indent="0" algn="ctr">
              <a:buNone/>
              <a:defRPr/>
            </a:lvl5pPr>
          </a:lstStyle>
          <a:p>
            <a:pPr lvl="0"/>
            <a:r>
              <a:rPr lang="en-US" dirty="0"/>
              <a:t>Click to add message</a:t>
            </a:r>
            <a:endParaRPr lang="en-GB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en-GB" noProof="0" smtClean="0"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768883532"/>
      </p:ext>
    </p:extLst>
  </p:cSld>
  <p:clrMapOvr>
    <a:masterClrMapping/>
  </p:clrMapOvr>
  <p:hf hdr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with graphical element">
    <p:bg>
      <p:bgPr>
        <a:solidFill>
          <a:srgbClr val="FAEF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 baseline="0"/>
            </a:lvl1pPr>
          </a:lstStyle>
          <a:p>
            <a:r>
              <a:rPr lang="en-GB" noProof="0" dirty="0"/>
              <a:t>Click to add heading on maximum two row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84226" y="1763713"/>
            <a:ext cx="6948488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4511A51-2A2A-4300-BF46-3C3CB9228A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21246" y="1746000"/>
            <a:ext cx="3484800" cy="3868322"/>
          </a:xfrm>
          <a:custGeom>
            <a:avLst/>
            <a:gdLst>
              <a:gd name="connsiteX0" fmla="*/ 1700043 w 3484800"/>
              <a:gd name="connsiteY0" fmla="*/ 0 h 3868322"/>
              <a:gd name="connsiteX1" fmla="*/ 1784318 w 3484800"/>
              <a:gd name="connsiteY1" fmla="*/ 0 h 3868322"/>
              <a:gd name="connsiteX2" fmla="*/ 1901903 w 3484800"/>
              <a:gd name="connsiteY2" fmla="*/ 4700 h 3868322"/>
              <a:gd name="connsiteX3" fmla="*/ 3484612 w 3484800"/>
              <a:gd name="connsiteY3" fmla="*/ 1625550 h 3868322"/>
              <a:gd name="connsiteX4" fmla="*/ 1742402 w 3484800"/>
              <a:gd name="connsiteY4" fmla="*/ 3868322 h 3868322"/>
              <a:gd name="connsiteX5" fmla="*/ 192 w 3484800"/>
              <a:gd name="connsiteY5" fmla="*/ 1625550 h 3868322"/>
              <a:gd name="connsiteX6" fmla="*/ 1582754 w 3484800"/>
              <a:gd name="connsiteY6" fmla="*/ 4656 h 3868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484800" h="3868322">
                <a:moveTo>
                  <a:pt x="1700043" y="0"/>
                </a:moveTo>
                <a:lnTo>
                  <a:pt x="1784318" y="0"/>
                </a:lnTo>
                <a:lnTo>
                  <a:pt x="1901903" y="4700"/>
                </a:lnTo>
                <a:cubicBezTo>
                  <a:pt x="2697790" y="68375"/>
                  <a:pt x="3448975" y="608757"/>
                  <a:pt x="3484612" y="1625550"/>
                </a:cubicBezTo>
                <a:cubicBezTo>
                  <a:pt x="3501632" y="3093953"/>
                  <a:pt x="2363555" y="3042913"/>
                  <a:pt x="1742402" y="3868322"/>
                </a:cubicBezTo>
                <a:cubicBezTo>
                  <a:pt x="1121348" y="3043135"/>
                  <a:pt x="-16975" y="3093584"/>
                  <a:pt x="192" y="1625550"/>
                </a:cubicBezTo>
                <a:cubicBezTo>
                  <a:pt x="35737" y="608308"/>
                  <a:pt x="786873" y="68108"/>
                  <a:pt x="1582754" y="4656"/>
                </a:cubicBezTo>
                <a:close/>
              </a:path>
            </a:pathLst>
          </a:custGeom>
          <a:solidFill>
            <a:srgbClr val="FF5F00"/>
          </a:solidFill>
        </p:spPr>
        <p:txBody>
          <a:bodyPr wrap="square" lIns="108000" tIns="0" rIns="108000" bIns="360000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2800">
                <a:solidFill>
                  <a:schemeClr val="bg1"/>
                </a:solidFill>
                <a:latin typeface="Swedbank Headline Bold" panose="02000000000000000000" pitchFamily="50" charset="0"/>
              </a:defRPr>
            </a:lvl1pPr>
            <a:lvl2pPr marL="0" indent="0" algn="ctr">
              <a:buNone/>
              <a:defRPr/>
            </a:lvl2pPr>
            <a:lvl3pPr marL="0" indent="0" algn="ctr">
              <a:buNone/>
              <a:defRPr/>
            </a:lvl3pPr>
            <a:lvl4pPr marL="0" indent="0" algn="ctr">
              <a:buNone/>
              <a:defRPr/>
            </a:lvl4pPr>
            <a:lvl5pPr marL="0" indent="0" algn="ctr">
              <a:buNone/>
              <a:defRPr/>
            </a:lvl5pPr>
          </a:lstStyle>
          <a:p>
            <a:pPr lvl="0"/>
            <a:r>
              <a:rPr lang="en-US" dirty="0"/>
              <a:t>Click to add message</a:t>
            </a:r>
            <a:endParaRPr lang="en-GB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en-GB" noProof="0" smtClean="0"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34120689"/>
      </p:ext>
    </p:extLst>
  </p:cSld>
  <p:clrMapOvr>
    <a:masterClrMapping/>
  </p:clrMapOvr>
  <p:hf hdr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with graphical element">
    <p:bg>
      <p:bgPr>
        <a:solidFill>
          <a:srgbClr val="FF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 baseline="0"/>
            </a:lvl1pPr>
          </a:lstStyle>
          <a:p>
            <a:r>
              <a:rPr lang="en-GB" noProof="0" dirty="0"/>
              <a:t>Click to add heading on maximum two row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84226" y="1763713"/>
            <a:ext cx="6948488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4511A51-2A2A-4300-BF46-3C3CB9228A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21246" y="1746000"/>
            <a:ext cx="3484800" cy="3868322"/>
          </a:xfrm>
          <a:custGeom>
            <a:avLst/>
            <a:gdLst>
              <a:gd name="connsiteX0" fmla="*/ 1700043 w 3484800"/>
              <a:gd name="connsiteY0" fmla="*/ 0 h 3868322"/>
              <a:gd name="connsiteX1" fmla="*/ 1784318 w 3484800"/>
              <a:gd name="connsiteY1" fmla="*/ 0 h 3868322"/>
              <a:gd name="connsiteX2" fmla="*/ 1901903 w 3484800"/>
              <a:gd name="connsiteY2" fmla="*/ 4700 h 3868322"/>
              <a:gd name="connsiteX3" fmla="*/ 3484612 w 3484800"/>
              <a:gd name="connsiteY3" fmla="*/ 1625550 h 3868322"/>
              <a:gd name="connsiteX4" fmla="*/ 1742402 w 3484800"/>
              <a:gd name="connsiteY4" fmla="*/ 3868322 h 3868322"/>
              <a:gd name="connsiteX5" fmla="*/ 192 w 3484800"/>
              <a:gd name="connsiteY5" fmla="*/ 1625550 h 3868322"/>
              <a:gd name="connsiteX6" fmla="*/ 1582754 w 3484800"/>
              <a:gd name="connsiteY6" fmla="*/ 4656 h 3868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484800" h="3868322">
                <a:moveTo>
                  <a:pt x="1700043" y="0"/>
                </a:moveTo>
                <a:lnTo>
                  <a:pt x="1784318" y="0"/>
                </a:lnTo>
                <a:lnTo>
                  <a:pt x="1901903" y="4700"/>
                </a:lnTo>
                <a:cubicBezTo>
                  <a:pt x="2697790" y="68375"/>
                  <a:pt x="3448975" y="608757"/>
                  <a:pt x="3484612" y="1625550"/>
                </a:cubicBezTo>
                <a:cubicBezTo>
                  <a:pt x="3501632" y="3093953"/>
                  <a:pt x="2363555" y="3042913"/>
                  <a:pt x="1742402" y="3868322"/>
                </a:cubicBezTo>
                <a:cubicBezTo>
                  <a:pt x="1121348" y="3043135"/>
                  <a:pt x="-16975" y="3093584"/>
                  <a:pt x="192" y="1625550"/>
                </a:cubicBezTo>
                <a:cubicBezTo>
                  <a:pt x="35737" y="608308"/>
                  <a:pt x="786873" y="68108"/>
                  <a:pt x="1582754" y="4656"/>
                </a:cubicBezTo>
                <a:close/>
              </a:path>
            </a:pathLst>
          </a:custGeom>
          <a:solidFill>
            <a:srgbClr val="FF5F00"/>
          </a:solidFill>
        </p:spPr>
        <p:txBody>
          <a:bodyPr wrap="square" lIns="108000" tIns="0" rIns="108000" bIns="360000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2800">
                <a:solidFill>
                  <a:schemeClr val="bg1"/>
                </a:solidFill>
                <a:latin typeface="Swedbank Headline Bold" panose="02000000000000000000" pitchFamily="50" charset="0"/>
              </a:defRPr>
            </a:lvl1pPr>
            <a:lvl2pPr marL="0" indent="0" algn="ctr">
              <a:buNone/>
              <a:defRPr/>
            </a:lvl2pPr>
            <a:lvl3pPr marL="0" indent="0" algn="ctr">
              <a:buNone/>
              <a:defRPr/>
            </a:lvl3pPr>
            <a:lvl4pPr marL="0" indent="0" algn="ctr">
              <a:buNone/>
              <a:defRPr/>
            </a:lvl4pPr>
            <a:lvl5pPr marL="0" indent="0" algn="ctr">
              <a:buNone/>
              <a:defRPr/>
            </a:lvl5pPr>
          </a:lstStyle>
          <a:p>
            <a:pPr lvl="0"/>
            <a:r>
              <a:rPr lang="en-US" dirty="0"/>
              <a:t>Click to add message</a:t>
            </a:r>
            <a:endParaRPr lang="en-GB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en-GB" noProof="0" smtClean="0"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02515427"/>
      </p:ext>
    </p:extLst>
  </p:cSld>
  <p:clrMapOvr>
    <a:masterClrMapping/>
  </p:clrMapOvr>
  <p:hf hdr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mage and graphical e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">
            <a:extLst>
              <a:ext uri="{FF2B5EF4-FFF2-40B4-BE49-F238E27FC236}">
                <a16:creationId xmlns:a16="http://schemas.microsoft.com/office/drawing/2014/main" id="{DF687458-A9F7-4182-9CDB-598F452798E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6154" cy="6858000"/>
          </a:xfrm>
          <a:noFill/>
        </p:spPr>
        <p:txBody>
          <a:bodyPr tIns="36000"/>
          <a:lstStyle>
            <a:lvl1pPr marL="0" indent="0" algn="ctr">
              <a:buNone/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Add an image: Click here, insert image via Templafy</a:t>
            </a:r>
          </a:p>
        </p:txBody>
      </p:sp>
      <p:sp>
        <p:nvSpPr>
          <p:cNvPr id="3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B01DE2A-FF64-4C84-9084-E50337E586FC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8553349" y="773706"/>
            <a:ext cx="3006000" cy="3006000"/>
          </a:xfrm>
          <a:prstGeom prst="ellipse">
            <a:avLst/>
          </a:prstGeom>
          <a:solidFill>
            <a:srgbClr val="FF5F00"/>
          </a:solidFill>
        </p:spPr>
        <p:txBody>
          <a:bodyPr wrap="square" lIns="108000" tIns="108000" rIns="108000" bIns="108000" anchor="ctr" anchorCtr="0">
            <a:noAutofit/>
          </a:bodyPr>
          <a:lstStyle>
            <a:lvl1pPr marL="0" indent="0" algn="ctr">
              <a:lnSpc>
                <a:spcPct val="115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  <a:latin typeface="Swedbank Headline Bold" panose="02000000000000000000" pitchFamily="50" charset="0"/>
              </a:defRPr>
            </a:lvl1pPr>
            <a:lvl2pPr marL="0" indent="0" algn="ctr">
              <a:buNone/>
              <a:defRPr/>
            </a:lvl2pPr>
            <a:lvl3pPr marL="0" indent="0" algn="ctr">
              <a:buNone/>
              <a:defRPr/>
            </a:lvl3pPr>
            <a:lvl4pPr marL="0" indent="0" algn="ctr">
              <a:buNone/>
              <a:defRPr/>
            </a:lvl4pPr>
            <a:lvl5pPr marL="0" indent="0" algn="ctr">
              <a:buNone/>
              <a:defRPr/>
            </a:lvl5pPr>
          </a:lstStyle>
          <a:p>
            <a:pPr lvl="0"/>
            <a:r>
              <a:rPr lang="en-GB" dirty="0"/>
              <a:t>Click to add text, place the circle to fit the image</a:t>
            </a:r>
          </a:p>
        </p:txBody>
      </p:sp>
    </p:spTree>
    <p:extLst>
      <p:ext uri="{BB962C8B-B14F-4D97-AF65-F5344CB8AC3E}">
        <p14:creationId xmlns:p14="http://schemas.microsoft.com/office/powerpoint/2010/main" val="299874272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Image and graphical e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">
            <a:extLst>
              <a:ext uri="{FF2B5EF4-FFF2-40B4-BE49-F238E27FC236}">
                <a16:creationId xmlns:a16="http://schemas.microsoft.com/office/drawing/2014/main" id="{DF687458-A9F7-4182-9CDB-598F452798E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6154" cy="6858000"/>
          </a:xfrm>
          <a:noFill/>
        </p:spPr>
        <p:txBody>
          <a:bodyPr tIns="36000"/>
          <a:lstStyle>
            <a:lvl1pPr marL="0" indent="0" algn="ctr">
              <a:buNone/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Add an image: Click here, insert image via Templafy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ED2DDD8-A6C0-4722-B160-05B5C7618194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1074301" y="2932838"/>
            <a:ext cx="3006000" cy="3006000"/>
          </a:xfrm>
          <a:prstGeom prst="ellipse">
            <a:avLst/>
          </a:prstGeom>
          <a:solidFill>
            <a:srgbClr val="FDC92A"/>
          </a:solidFill>
        </p:spPr>
        <p:txBody>
          <a:bodyPr wrap="square" lIns="108000" tIns="108000" rIns="108000" bIns="108000" anchor="ctr" anchorCtr="0">
            <a:noAutofit/>
          </a:bodyPr>
          <a:lstStyle>
            <a:lvl1pPr marL="0" indent="0" algn="ctr">
              <a:lnSpc>
                <a:spcPct val="115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  <a:latin typeface="Swedbank Headline Bold" panose="02000000000000000000" pitchFamily="50" charset="0"/>
              </a:defRPr>
            </a:lvl1pPr>
            <a:lvl2pPr marL="0" indent="0" algn="ctr">
              <a:buNone/>
              <a:defRPr/>
            </a:lvl2pPr>
            <a:lvl3pPr marL="0" indent="0" algn="ctr">
              <a:buNone/>
              <a:defRPr/>
            </a:lvl3pPr>
            <a:lvl4pPr marL="0" indent="0" algn="ctr">
              <a:buNone/>
              <a:defRPr/>
            </a:lvl4pPr>
            <a:lvl5pPr marL="0" indent="0" algn="ctr">
              <a:buNone/>
              <a:defRPr/>
            </a:lvl5pPr>
          </a:lstStyle>
          <a:p>
            <a:pPr lvl="0"/>
            <a:r>
              <a:rPr lang="en-GB" dirty="0"/>
              <a:t>Click to add text, place the circle to fit the 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C23AC8D-2FDA-4C41-B15B-B7063CF859E6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4593213" y="2932838"/>
            <a:ext cx="3006000" cy="3006000"/>
          </a:xfrm>
          <a:prstGeom prst="ellipse">
            <a:avLst/>
          </a:prstGeom>
          <a:solidFill>
            <a:srgbClr val="FF9102"/>
          </a:solidFill>
        </p:spPr>
        <p:txBody>
          <a:bodyPr wrap="square" lIns="108000" tIns="108000" rIns="108000" bIns="108000" anchor="ctr" anchorCtr="0">
            <a:noAutofit/>
          </a:bodyPr>
          <a:lstStyle>
            <a:lvl1pPr marL="0" indent="0" algn="ctr">
              <a:lnSpc>
                <a:spcPct val="115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  <a:latin typeface="Swedbank Headline Bold" panose="02000000000000000000" pitchFamily="50" charset="0"/>
              </a:defRPr>
            </a:lvl1pPr>
            <a:lvl2pPr marL="0" indent="0" algn="ctr">
              <a:buNone/>
              <a:defRPr/>
            </a:lvl2pPr>
            <a:lvl3pPr marL="0" indent="0" algn="ctr">
              <a:buNone/>
              <a:defRPr/>
            </a:lvl3pPr>
            <a:lvl4pPr marL="0" indent="0" algn="ctr">
              <a:buNone/>
              <a:defRPr/>
            </a:lvl4pPr>
            <a:lvl5pPr marL="0" indent="0" algn="ctr">
              <a:buNone/>
              <a:defRPr/>
            </a:lvl5pPr>
          </a:lstStyle>
          <a:p>
            <a:pPr lvl="0"/>
            <a:r>
              <a:rPr lang="en-GB" dirty="0"/>
              <a:t>Click to add text, place the circle to fit the imag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6B8687A-8FE8-4330-9C42-41A69DBED9AA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8127574" y="2932838"/>
            <a:ext cx="3006000" cy="3006000"/>
          </a:xfrm>
          <a:prstGeom prst="ellipse">
            <a:avLst/>
          </a:prstGeom>
          <a:solidFill>
            <a:srgbClr val="FF5F00"/>
          </a:solidFill>
        </p:spPr>
        <p:txBody>
          <a:bodyPr wrap="square" lIns="108000" tIns="108000" rIns="108000" bIns="108000" anchor="ctr" anchorCtr="0">
            <a:noAutofit/>
          </a:bodyPr>
          <a:lstStyle>
            <a:lvl1pPr marL="0" indent="0" algn="ctr">
              <a:lnSpc>
                <a:spcPct val="115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  <a:latin typeface="Swedbank Headline Bold" panose="02000000000000000000" pitchFamily="50" charset="0"/>
              </a:defRPr>
            </a:lvl1pPr>
            <a:lvl2pPr marL="0" indent="0" algn="ctr">
              <a:buNone/>
              <a:defRPr/>
            </a:lvl2pPr>
            <a:lvl3pPr marL="0" indent="0" algn="ctr">
              <a:buNone/>
              <a:defRPr/>
            </a:lvl3pPr>
            <a:lvl4pPr marL="0" indent="0" algn="ctr">
              <a:buNone/>
              <a:defRPr/>
            </a:lvl4pPr>
            <a:lvl5pPr marL="0" indent="0" algn="ctr">
              <a:buNone/>
              <a:defRPr/>
            </a:lvl5pPr>
          </a:lstStyle>
          <a:p>
            <a:pPr lvl="0"/>
            <a:r>
              <a:rPr lang="en-GB" dirty="0"/>
              <a:t>Click to add text, place the circle to fit the image</a:t>
            </a:r>
          </a:p>
        </p:txBody>
      </p:sp>
      <p:sp>
        <p:nvSpPr>
          <p:cNvPr id="3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8551567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, oak shape &amp; image">
    <p:bg>
      <p:bgPr>
        <a:solidFill>
          <a:srgbClr val="FF5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Logo">
            <a:extLst>
              <a:ext uri="{FF2B5EF4-FFF2-40B4-BE49-F238E27FC236}">
                <a16:creationId xmlns:a16="http://schemas.microsoft.com/office/drawing/2014/main" id="{AFEA9D5F-A4C6-434B-B5A6-AD71825F9A6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058708" y="277629"/>
            <a:ext cx="2851340" cy="612378"/>
          </a:xfrm>
          <a:prstGeom prst="rect">
            <a:avLst/>
          </a:prstGeom>
        </p:spPr>
      </p:pic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FB5A6843-5FCE-4D1F-8A6E-DDEFE680F5A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879726" y="1332000"/>
            <a:ext cx="9312275" cy="5526000"/>
          </a:xfrm>
          <a:custGeom>
            <a:avLst/>
            <a:gdLst>
              <a:gd name="connsiteX0" fmla="*/ 7421459 w 9312275"/>
              <a:gd name="connsiteY0" fmla="*/ 0 h 5526000"/>
              <a:gd name="connsiteX1" fmla="*/ 7476336 w 9312275"/>
              <a:gd name="connsiteY1" fmla="*/ 0 h 5526000"/>
              <a:gd name="connsiteX2" fmla="*/ 7588825 w 9312275"/>
              <a:gd name="connsiteY2" fmla="*/ 4117 h 5526000"/>
              <a:gd name="connsiteX3" fmla="*/ 9188074 w 9312275"/>
              <a:gd name="connsiteY3" fmla="*/ 289873 h 5526000"/>
              <a:gd name="connsiteX4" fmla="*/ 9312275 w 9312275"/>
              <a:gd name="connsiteY4" fmla="*/ 259466 h 5526000"/>
              <a:gd name="connsiteX5" fmla="*/ 9312275 w 9312275"/>
              <a:gd name="connsiteY5" fmla="*/ 5526000 h 5526000"/>
              <a:gd name="connsiteX6" fmla="*/ 0 w 9312275"/>
              <a:gd name="connsiteY6" fmla="*/ 5526000 h 5526000"/>
              <a:gd name="connsiteX7" fmla="*/ 285750 w 9312275"/>
              <a:gd name="connsiteY7" fmla="*/ 4771620 h 5526000"/>
              <a:gd name="connsiteX8" fmla="*/ 1178560 w 9312275"/>
              <a:gd name="connsiteY8" fmla="*/ 4529685 h 5526000"/>
              <a:gd name="connsiteX9" fmla="*/ 2059306 w 9312275"/>
              <a:gd name="connsiteY9" fmla="*/ 2409420 h 5526000"/>
              <a:gd name="connsiteX10" fmla="*/ 4157345 w 9312275"/>
              <a:gd name="connsiteY10" fmla="*/ 1871575 h 5526000"/>
              <a:gd name="connsiteX11" fmla="*/ 5100320 w 9312275"/>
              <a:gd name="connsiteY11" fmla="*/ 364720 h 5526000"/>
              <a:gd name="connsiteX12" fmla="*/ 6146800 w 9312275"/>
              <a:gd name="connsiteY12" fmla="*/ 528550 h 5526000"/>
              <a:gd name="connsiteX13" fmla="*/ 7337790 w 9312275"/>
              <a:gd name="connsiteY13" fmla="*/ 3289 h 552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312275" h="5526000">
                <a:moveTo>
                  <a:pt x="7421459" y="0"/>
                </a:moveTo>
                <a:lnTo>
                  <a:pt x="7476336" y="0"/>
                </a:lnTo>
                <a:lnTo>
                  <a:pt x="7588825" y="4117"/>
                </a:lnTo>
                <a:cubicBezTo>
                  <a:pt x="8227954" y="50954"/>
                  <a:pt x="8618953" y="398610"/>
                  <a:pt x="9188074" y="289873"/>
                </a:cubicBezTo>
                <a:lnTo>
                  <a:pt x="9312275" y="259466"/>
                </a:lnTo>
                <a:lnTo>
                  <a:pt x="9312275" y="5526000"/>
                </a:lnTo>
                <a:lnTo>
                  <a:pt x="0" y="5526000"/>
                </a:lnTo>
                <a:cubicBezTo>
                  <a:pt x="17780" y="5292956"/>
                  <a:pt x="-53975" y="4951325"/>
                  <a:pt x="285750" y="4771620"/>
                </a:cubicBezTo>
                <a:cubicBezTo>
                  <a:pt x="697865" y="4553180"/>
                  <a:pt x="861695" y="4770985"/>
                  <a:pt x="1178560" y="4529685"/>
                </a:cubicBezTo>
                <a:cubicBezTo>
                  <a:pt x="2386330" y="3608300"/>
                  <a:pt x="1329690" y="3231745"/>
                  <a:pt x="2059306" y="2409420"/>
                </a:cubicBezTo>
                <a:cubicBezTo>
                  <a:pt x="2985136" y="1364845"/>
                  <a:pt x="2668905" y="2404975"/>
                  <a:pt x="4157345" y="1871575"/>
                </a:cubicBezTo>
                <a:cubicBezTo>
                  <a:pt x="4869181" y="1616305"/>
                  <a:pt x="4685665" y="621895"/>
                  <a:pt x="5100320" y="364720"/>
                </a:cubicBezTo>
                <a:cubicBezTo>
                  <a:pt x="5508625" y="111355"/>
                  <a:pt x="5747385" y="632690"/>
                  <a:pt x="6146800" y="528550"/>
                </a:cubicBezTo>
                <a:cubicBezTo>
                  <a:pt x="6676033" y="390438"/>
                  <a:pt x="6814034" y="45826"/>
                  <a:pt x="7337790" y="3289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lIns="4896000" tIns="1224000" rIns="180000">
            <a:noAutofit/>
          </a:bodyPr>
          <a:lstStyle>
            <a:lvl1pPr marL="0" indent="0" algn="r">
              <a:buNone/>
              <a:defRPr sz="2400"/>
            </a:lvl1pPr>
          </a:lstStyle>
          <a:p>
            <a:r>
              <a:rPr lang="en-GB" dirty="0"/>
              <a:t>Add an image: Click here, insert image via Templafy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BB63C34-DE30-478C-81B2-BE02535AAF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6722" y="752384"/>
            <a:ext cx="6340488" cy="1623066"/>
          </a:xfrm>
        </p:spPr>
        <p:txBody>
          <a:bodyPr anchor="ctr" anchorCtr="0"/>
          <a:lstStyle>
            <a:lvl1pPr algn="l">
              <a:lnSpc>
                <a:spcPct val="90000"/>
              </a:lnSpc>
              <a:defRPr sz="5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 on max two rows</a:t>
            </a:r>
            <a:endParaRPr lang="en-GB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9DA2D730-07CB-40C0-940C-70829D9096A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6722" y="2650117"/>
            <a:ext cx="4312904" cy="7200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b="0">
                <a:solidFill>
                  <a:schemeClr val="bg1"/>
                </a:solidFill>
                <a:latin typeface="Swedbank Headline Bold" panose="02000000000000000000" pitchFamily="50" charset="0"/>
              </a:defRPr>
            </a:lvl1pPr>
            <a:lvl2pPr marL="216000" indent="0" algn="ctr">
              <a:buNone/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image" descr="{&quot;templafy&quot;:{&quot;type&quot;:&quot;image&quot;,&quot;binding&quot;:&quot;Form.InformationClasses.BoxfrontPP&quot;,&quot;inheritDimensions&quot;:&quot;inheritNone&quot;,&quot;width&quot;:&quot;&quot;,&quot;height&quot;:&quot;0.98 cm&quot;,&quot;visibility&quot;:{&quot;action&quot;:&quot;hide&quot;,&quot;compareValue&quot;:&quot;Confidential&quot;,&quot;binding&quot;:&quot;Form.InformationClasses.Term&quot;,&quot;operator&quot;:&quot;notEquals&quot;}}}" title="Form.InformationClasses.BoxfrontPP">
            <a:extLst>
              <a:ext uri="{FF2B5EF4-FFF2-40B4-BE49-F238E27FC236}">
                <a16:creationId xmlns:a16="http://schemas.microsoft.com/office/drawing/2014/main" id="{90D72F7F-983F-4F8B-AC13-F632AA48312B}"/>
              </a:ext>
            </a:extLst>
          </p:cNvPr>
          <p:cNvSpPr/>
          <p:nvPr userDrawn="1"/>
        </p:nvSpPr>
        <p:spPr>
          <a:xfrm>
            <a:off x="-2707" y="354123"/>
            <a:ext cx="1839621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rIns="162000" rtlCol="0" anchor="ctr"/>
          <a:lstStyle/>
          <a:p>
            <a:pPr algn="r">
              <a:spcBef>
                <a:spcPts val="600"/>
              </a:spcBef>
            </a:pPr>
            <a:endParaRPr lang="en-GB" sz="1400" noProof="0" dirty="0">
              <a:solidFill>
                <a:schemeClr val="bg2"/>
              </a:solidFill>
            </a:endParaRPr>
          </a:p>
        </p:txBody>
      </p:sp>
      <p:sp>
        <p:nvSpPr>
          <p:cNvPr id="12" name="text" descr="{&quot;templafy&quot;:{&quot;type&quot;:&quot;text&quot;,&quot;binding&quot;:&quot;Form.InformationClasses.TermfrontPP&quot;}}" title="Form.InformationClasses.TermfrontPP">
            <a:extLst>
              <a:ext uri="{FF2B5EF4-FFF2-40B4-BE49-F238E27FC236}">
                <a16:creationId xmlns:a16="http://schemas.microsoft.com/office/drawing/2014/main" id="{A7C6D517-0DE6-41DA-9F77-AC26DA704FBE}"/>
              </a:ext>
            </a:extLst>
          </p:cNvPr>
          <p:cNvSpPr/>
          <p:nvPr userDrawn="1"/>
        </p:nvSpPr>
        <p:spPr>
          <a:xfrm>
            <a:off x="-2707" y="354123"/>
            <a:ext cx="1839621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rIns="162000" rtlCol="0" anchor="ctr"/>
          <a:lstStyle/>
          <a:p>
            <a:pPr algn="r">
              <a:spcBef>
                <a:spcPts val="600"/>
              </a:spcBef>
            </a:pPr>
            <a:endParaRPr lang="en-GB" sz="1400" noProof="0" dirty="0">
              <a:solidFill>
                <a:srgbClr val="FF5F00"/>
              </a:solidFill>
              <a:latin typeface="Swedbank Headline Bold" panose="020000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398301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aphical element on colour">
    <p:bg>
      <p:bgPr>
        <a:solidFill>
          <a:srgbClr val="FFF1C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3A8EB05-7D68-41F1-ABFF-FDDA95CAA141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3817736" y="932699"/>
            <a:ext cx="4556528" cy="5058000"/>
          </a:xfrm>
          <a:custGeom>
            <a:avLst/>
            <a:gdLst>
              <a:gd name="connsiteX0" fmla="*/ 1700043 w 3484800"/>
              <a:gd name="connsiteY0" fmla="*/ 0 h 3868322"/>
              <a:gd name="connsiteX1" fmla="*/ 1784318 w 3484800"/>
              <a:gd name="connsiteY1" fmla="*/ 0 h 3868322"/>
              <a:gd name="connsiteX2" fmla="*/ 1901903 w 3484800"/>
              <a:gd name="connsiteY2" fmla="*/ 4700 h 3868322"/>
              <a:gd name="connsiteX3" fmla="*/ 3484612 w 3484800"/>
              <a:gd name="connsiteY3" fmla="*/ 1625550 h 3868322"/>
              <a:gd name="connsiteX4" fmla="*/ 1742402 w 3484800"/>
              <a:gd name="connsiteY4" fmla="*/ 3868322 h 3868322"/>
              <a:gd name="connsiteX5" fmla="*/ 192 w 3484800"/>
              <a:gd name="connsiteY5" fmla="*/ 1625550 h 3868322"/>
              <a:gd name="connsiteX6" fmla="*/ 1582754 w 3484800"/>
              <a:gd name="connsiteY6" fmla="*/ 4656 h 3868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484800" h="3868322">
                <a:moveTo>
                  <a:pt x="1700043" y="0"/>
                </a:moveTo>
                <a:lnTo>
                  <a:pt x="1784318" y="0"/>
                </a:lnTo>
                <a:lnTo>
                  <a:pt x="1901903" y="4700"/>
                </a:lnTo>
                <a:cubicBezTo>
                  <a:pt x="2697790" y="68375"/>
                  <a:pt x="3448975" y="608757"/>
                  <a:pt x="3484612" y="1625550"/>
                </a:cubicBezTo>
                <a:cubicBezTo>
                  <a:pt x="3501632" y="3093953"/>
                  <a:pt x="2363555" y="3042913"/>
                  <a:pt x="1742402" y="3868322"/>
                </a:cubicBezTo>
                <a:cubicBezTo>
                  <a:pt x="1121348" y="3043135"/>
                  <a:pt x="-16975" y="3093584"/>
                  <a:pt x="192" y="1625550"/>
                </a:cubicBezTo>
                <a:cubicBezTo>
                  <a:pt x="35737" y="608308"/>
                  <a:pt x="786873" y="68108"/>
                  <a:pt x="1582754" y="4656"/>
                </a:cubicBezTo>
                <a:close/>
              </a:path>
            </a:pathLst>
          </a:custGeom>
          <a:solidFill>
            <a:srgbClr val="FF5F00"/>
          </a:solidFill>
        </p:spPr>
        <p:txBody>
          <a:bodyPr wrap="square" lIns="252000" tIns="0" rIns="252000" bIns="360000" anchor="ctr" anchorCtr="0">
            <a:noAutofit/>
          </a:bodyPr>
          <a:lstStyle>
            <a:lvl1pPr marL="0" indent="0" algn="ctr">
              <a:lnSpc>
                <a:spcPct val="83000"/>
              </a:lnSpc>
              <a:spcBef>
                <a:spcPts val="0"/>
              </a:spcBef>
              <a:buNone/>
              <a:defRPr sz="800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/>
            </a:lvl2pPr>
            <a:lvl3pPr marL="0" indent="0" algn="ctr">
              <a:buNone/>
              <a:defRPr/>
            </a:lvl3pPr>
            <a:lvl4pPr marL="0" indent="0" algn="ctr">
              <a:buNone/>
              <a:defRPr/>
            </a:lvl4pPr>
            <a:lvl5pPr marL="0" indent="0" algn="ctr">
              <a:buNone/>
              <a:defRPr/>
            </a:lvl5pPr>
          </a:lstStyle>
          <a:p>
            <a:pPr lvl="0"/>
            <a:r>
              <a:rPr lang="en-US" dirty="0"/>
              <a:t>Add message</a:t>
            </a:r>
            <a:endParaRPr lang="en-GB" dirty="0"/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6512259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aphical element on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">
            <a:extLst>
              <a:ext uri="{FF2B5EF4-FFF2-40B4-BE49-F238E27FC236}">
                <a16:creationId xmlns:a16="http://schemas.microsoft.com/office/drawing/2014/main" id="{503D833F-6558-4847-B9DB-8AA23362B55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6154" cy="6858000"/>
          </a:xfrm>
          <a:noFill/>
        </p:spPr>
        <p:txBody>
          <a:bodyPr tIns="36000"/>
          <a:lstStyle>
            <a:lvl1pPr marL="0" indent="0" algn="ctr">
              <a:buNone/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Add an image: Click here, insert image via Templafy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EAC051A-7CEC-463A-BE1D-04106CEF688F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3817736" y="932699"/>
            <a:ext cx="4556528" cy="5058000"/>
          </a:xfrm>
          <a:custGeom>
            <a:avLst/>
            <a:gdLst>
              <a:gd name="connsiteX0" fmla="*/ 1700043 w 3484800"/>
              <a:gd name="connsiteY0" fmla="*/ 0 h 3868322"/>
              <a:gd name="connsiteX1" fmla="*/ 1784318 w 3484800"/>
              <a:gd name="connsiteY1" fmla="*/ 0 h 3868322"/>
              <a:gd name="connsiteX2" fmla="*/ 1901903 w 3484800"/>
              <a:gd name="connsiteY2" fmla="*/ 4700 h 3868322"/>
              <a:gd name="connsiteX3" fmla="*/ 3484612 w 3484800"/>
              <a:gd name="connsiteY3" fmla="*/ 1625550 h 3868322"/>
              <a:gd name="connsiteX4" fmla="*/ 1742402 w 3484800"/>
              <a:gd name="connsiteY4" fmla="*/ 3868322 h 3868322"/>
              <a:gd name="connsiteX5" fmla="*/ 192 w 3484800"/>
              <a:gd name="connsiteY5" fmla="*/ 1625550 h 3868322"/>
              <a:gd name="connsiteX6" fmla="*/ 1582754 w 3484800"/>
              <a:gd name="connsiteY6" fmla="*/ 4656 h 3868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484800" h="3868322">
                <a:moveTo>
                  <a:pt x="1700043" y="0"/>
                </a:moveTo>
                <a:lnTo>
                  <a:pt x="1784318" y="0"/>
                </a:lnTo>
                <a:lnTo>
                  <a:pt x="1901903" y="4700"/>
                </a:lnTo>
                <a:cubicBezTo>
                  <a:pt x="2697790" y="68375"/>
                  <a:pt x="3448975" y="608757"/>
                  <a:pt x="3484612" y="1625550"/>
                </a:cubicBezTo>
                <a:cubicBezTo>
                  <a:pt x="3501632" y="3093953"/>
                  <a:pt x="2363555" y="3042913"/>
                  <a:pt x="1742402" y="3868322"/>
                </a:cubicBezTo>
                <a:cubicBezTo>
                  <a:pt x="1121348" y="3043135"/>
                  <a:pt x="-16975" y="3093584"/>
                  <a:pt x="192" y="1625550"/>
                </a:cubicBezTo>
                <a:cubicBezTo>
                  <a:pt x="35737" y="608308"/>
                  <a:pt x="786873" y="68108"/>
                  <a:pt x="1582754" y="4656"/>
                </a:cubicBezTo>
                <a:close/>
              </a:path>
            </a:pathLst>
          </a:custGeom>
          <a:solidFill>
            <a:srgbClr val="FF5F00"/>
          </a:solidFill>
        </p:spPr>
        <p:txBody>
          <a:bodyPr wrap="square" lIns="252000" tIns="0" rIns="252000" bIns="360000" anchor="ctr" anchorCtr="0">
            <a:noAutofit/>
          </a:bodyPr>
          <a:lstStyle>
            <a:lvl1pPr marL="0" indent="0" algn="ctr">
              <a:lnSpc>
                <a:spcPct val="83000"/>
              </a:lnSpc>
              <a:spcBef>
                <a:spcPts val="0"/>
              </a:spcBef>
              <a:buNone/>
              <a:defRPr sz="800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/>
            </a:lvl2pPr>
            <a:lvl3pPr marL="0" indent="0" algn="ctr">
              <a:buNone/>
              <a:defRPr/>
            </a:lvl3pPr>
            <a:lvl4pPr marL="0" indent="0" algn="ctr">
              <a:buNone/>
              <a:defRPr/>
            </a:lvl4pPr>
            <a:lvl5pPr marL="0" indent="0" algn="ctr">
              <a:buNone/>
              <a:defRPr/>
            </a:lvl5pPr>
          </a:lstStyle>
          <a:p>
            <a:pPr lvl="0"/>
            <a:r>
              <a:rPr lang="en-US" dirty="0"/>
              <a:t>Add message</a:t>
            </a:r>
            <a:endParaRPr lang="en-GB" dirty="0"/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070733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, oak shape &amp; logotype">
    <p:bg>
      <p:bgPr>
        <a:solidFill>
          <a:srgbClr val="FDC9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objekt 3">
            <a:extLst>
              <a:ext uri="{FF2B5EF4-FFF2-40B4-BE49-F238E27FC236}">
                <a16:creationId xmlns:a16="http://schemas.microsoft.com/office/drawing/2014/main" id="{58D7241C-1382-42A0-91AA-EBCB856DB47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3" name="Bildobjekt 8">
            <a:extLst>
              <a:ext uri="{FF2B5EF4-FFF2-40B4-BE49-F238E27FC236}">
                <a16:creationId xmlns:a16="http://schemas.microsoft.com/office/drawing/2014/main" id="{F2EF57CF-4C06-47C5-A4D5-BF30A836471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98116" y="2731502"/>
            <a:ext cx="7415902" cy="1592702"/>
          </a:xfrm>
          <a:prstGeom prst="rect">
            <a:avLst/>
          </a:prstGeom>
        </p:spPr>
      </p:pic>
      <p:sp>
        <p:nvSpPr>
          <p:cNvPr id="9" name="image" descr="{&quot;templafy&quot;:{&quot;type&quot;:&quot;image&quot;,&quot;binding&quot;:&quot;Form.InformationClasses.BoxfrontPP&quot;,&quot;inheritDimensions&quot;:&quot;inheritNone&quot;,&quot;width&quot;:&quot;&quot;,&quot;height&quot;:&quot;0.98 cm&quot;,&quot;visibility&quot;:{&quot;action&quot;:&quot;hide&quot;,&quot;compareValue&quot;:&quot;Confidential&quot;,&quot;binding&quot;:&quot;Form.InformationClasses.Term&quot;,&quot;operator&quot;:&quot;notEquals&quot;}}}" title="Form.InformationClasses.BoxfrontPP">
            <a:extLst>
              <a:ext uri="{FF2B5EF4-FFF2-40B4-BE49-F238E27FC236}">
                <a16:creationId xmlns:a16="http://schemas.microsoft.com/office/drawing/2014/main" id="{E4F943D2-161C-44F0-9CCA-CE821B2F5052}"/>
              </a:ext>
            </a:extLst>
          </p:cNvPr>
          <p:cNvSpPr/>
          <p:nvPr userDrawn="1"/>
        </p:nvSpPr>
        <p:spPr>
          <a:xfrm>
            <a:off x="-2707" y="354123"/>
            <a:ext cx="1839621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rIns="162000" rtlCol="0" anchor="ctr"/>
          <a:lstStyle/>
          <a:p>
            <a:pPr algn="r">
              <a:spcBef>
                <a:spcPts val="600"/>
              </a:spcBef>
            </a:pPr>
            <a:endParaRPr lang="en-GB" sz="1400" noProof="0" dirty="0">
              <a:solidFill>
                <a:schemeClr val="bg2"/>
              </a:solidFill>
            </a:endParaRPr>
          </a:p>
        </p:txBody>
      </p:sp>
      <p:sp>
        <p:nvSpPr>
          <p:cNvPr id="10" name="text" descr="{&quot;templafy&quot;:{&quot;type&quot;:&quot;text&quot;,&quot;binding&quot;:&quot;Form.InformationClasses.TermfrontPP&quot;}}" title="Form.InformationClasses.TermfrontPP">
            <a:extLst>
              <a:ext uri="{FF2B5EF4-FFF2-40B4-BE49-F238E27FC236}">
                <a16:creationId xmlns:a16="http://schemas.microsoft.com/office/drawing/2014/main" id="{474FE8A1-D11B-4419-BC92-A72ADAA1C6B9}"/>
              </a:ext>
            </a:extLst>
          </p:cNvPr>
          <p:cNvSpPr/>
          <p:nvPr userDrawn="1"/>
        </p:nvSpPr>
        <p:spPr>
          <a:xfrm>
            <a:off x="-2707" y="354123"/>
            <a:ext cx="1839621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rIns="162000" rtlCol="0" anchor="ctr"/>
          <a:lstStyle/>
          <a:p>
            <a:pPr algn="r">
              <a:spcBef>
                <a:spcPts val="600"/>
              </a:spcBef>
            </a:pPr>
            <a:endParaRPr lang="en-GB" sz="1400" noProof="0" dirty="0">
              <a:solidFill>
                <a:srgbClr val="FF5F00"/>
              </a:solidFill>
              <a:latin typeface="Swedbank Headline Bold" panose="020000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579667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End slide with image &amp; logotyp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8" name="Bildobjekt 8">
            <a:extLst>
              <a:ext uri="{FF2B5EF4-FFF2-40B4-BE49-F238E27FC236}">
                <a16:creationId xmlns:a16="http://schemas.microsoft.com/office/drawing/2014/main" id="{B09103F3-7122-4AAE-8A93-C7507B7A502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auto">
          <a:xfrm>
            <a:off x="2598116" y="2731502"/>
            <a:ext cx="7415902" cy="1592702"/>
          </a:xfrm>
          <a:prstGeom prst="rect">
            <a:avLst/>
          </a:prstGeom>
        </p:spPr>
      </p:pic>
      <p:sp>
        <p:nvSpPr>
          <p:cNvPr id="7" name="image" descr="{&quot;templafy&quot;:{&quot;type&quot;:&quot;image&quot;,&quot;binding&quot;:&quot;Form.InformationClasses.BoxfrontPP&quot;,&quot;inheritDimensions&quot;:&quot;inheritNone&quot;,&quot;width&quot;:&quot;&quot;,&quot;height&quot;:&quot;0.98 cm&quot;,&quot;visibility&quot;:{&quot;action&quot;:&quot;hide&quot;,&quot;compareValue&quot;:&quot;Confidential&quot;,&quot;binding&quot;:&quot;Form.InformationClasses.Term&quot;,&quot;operator&quot;:&quot;notEquals&quot;}}}" title="Form.InformationClasses.BoxfrontPP">
            <a:extLst>
              <a:ext uri="{FF2B5EF4-FFF2-40B4-BE49-F238E27FC236}">
                <a16:creationId xmlns:a16="http://schemas.microsoft.com/office/drawing/2014/main" id="{CC6B1406-C7A8-421A-9226-B304C1139AE7}"/>
              </a:ext>
            </a:extLst>
          </p:cNvPr>
          <p:cNvSpPr/>
          <p:nvPr userDrawn="1"/>
        </p:nvSpPr>
        <p:spPr>
          <a:xfrm>
            <a:off x="-2707" y="354123"/>
            <a:ext cx="1839621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rIns="162000" rtlCol="0" anchor="ctr"/>
          <a:lstStyle/>
          <a:p>
            <a:pPr algn="r">
              <a:spcBef>
                <a:spcPts val="600"/>
              </a:spcBef>
            </a:pPr>
            <a:endParaRPr lang="en-GB" sz="1400" noProof="0" dirty="0">
              <a:solidFill>
                <a:schemeClr val="bg2"/>
              </a:solidFill>
            </a:endParaRPr>
          </a:p>
        </p:txBody>
      </p:sp>
      <p:sp>
        <p:nvSpPr>
          <p:cNvPr id="9" name="text" descr="{&quot;templafy&quot;:{&quot;type&quot;:&quot;text&quot;,&quot;binding&quot;:&quot;Form.InformationClasses.TermfrontPP&quot;}}" title="Form.InformationClasses.TermfrontPP">
            <a:extLst>
              <a:ext uri="{FF2B5EF4-FFF2-40B4-BE49-F238E27FC236}">
                <a16:creationId xmlns:a16="http://schemas.microsoft.com/office/drawing/2014/main" id="{8AA5B805-36C7-42C0-899F-E208023982F5}"/>
              </a:ext>
            </a:extLst>
          </p:cNvPr>
          <p:cNvSpPr/>
          <p:nvPr userDrawn="1"/>
        </p:nvSpPr>
        <p:spPr>
          <a:xfrm>
            <a:off x="-2707" y="354123"/>
            <a:ext cx="1839621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rIns="162000" rtlCol="0" anchor="ctr"/>
          <a:lstStyle/>
          <a:p>
            <a:pPr algn="r">
              <a:spcBef>
                <a:spcPts val="600"/>
              </a:spcBef>
            </a:pPr>
            <a:endParaRPr lang="en-GB" sz="1400" noProof="0" dirty="0">
              <a:solidFill>
                <a:srgbClr val="FF5F00"/>
              </a:solidFill>
              <a:latin typeface="Swedbank Headline Bold" panose="020000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286932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r gu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Box 3">
            <a:extLst>
              <a:ext uri="{FF2B5EF4-FFF2-40B4-BE49-F238E27FC236}">
                <a16:creationId xmlns:a16="http://schemas.microsoft.com/office/drawing/2014/main" id="{19798472-DC87-414E-BC4E-CFAF99EF0E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467579" y="1533525"/>
            <a:ext cx="2786833" cy="4154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PICTURES</a:t>
            </a:r>
            <a:endParaRPr lang="da-DK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corporate picture from Templafy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ck the blue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lafy 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the dropdown, click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s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b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 click the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s </a:t>
            </a:r>
            <a:r>
              <a:rPr lang="da-DK" altLang="da-DK" sz="900" b="0" i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tton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the Templafy pane on the right side of the screen</a:t>
            </a:r>
            <a:endParaRPr lang="da-DK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da-DK" altLang="da-DK" sz="900" b="0" baseline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slides with pictureplaceholder, click on the icon and choose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hange size or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want to scale the picture,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ld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 down while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agging the corners of the picture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delete the picture and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a new one, the picture may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e in front of the text or graphic.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this happens, select the picture,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ght-click and choose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d to Back</a:t>
            </a:r>
          </a:p>
        </p:txBody>
      </p: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1E29220A-15A7-4D74-97D3-C35C0B6650BA}"/>
              </a:ext>
            </a:extLst>
          </p:cNvPr>
          <p:cNvGrpSpPr/>
          <p:nvPr userDrawn="1"/>
        </p:nvGrpSpPr>
        <p:grpSpPr>
          <a:xfrm>
            <a:off x="7254412" y="1801606"/>
            <a:ext cx="676669" cy="997704"/>
            <a:chOff x="6442771" y="2574072"/>
            <a:chExt cx="676669" cy="997704"/>
          </a:xfrm>
        </p:grpSpPr>
        <p:pic>
          <p:nvPicPr>
            <p:cNvPr id="27" name="Billede 26">
              <a:extLst>
                <a:ext uri="{FF2B5EF4-FFF2-40B4-BE49-F238E27FC236}">
                  <a16:creationId xmlns:a16="http://schemas.microsoft.com/office/drawing/2014/main" id="{3A5D5234-21E3-4579-AE5E-A650C0CF9F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38" name="Billede 37">
              <a:extLst>
                <a:ext uri="{FF2B5EF4-FFF2-40B4-BE49-F238E27FC236}">
                  <a16:creationId xmlns:a16="http://schemas.microsoft.com/office/drawing/2014/main" id="{C18E748C-FC83-400F-9C35-D988C122801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l="1432" t="16308" r="2422" b="1509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sp>
        <p:nvSpPr>
          <p:cNvPr id="42" name="Text Box 2">
            <a:extLst>
              <a:ext uri="{FF2B5EF4-FFF2-40B4-BE49-F238E27FC236}">
                <a16:creationId xmlns:a16="http://schemas.microsoft.com/office/drawing/2014/main" id="{00AD0EBC-0A41-4B26-9D79-79E0C00BBA8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90730" y="1539155"/>
            <a:ext cx="2280360" cy="47397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TEXT STYLES</a:t>
            </a:r>
            <a:endParaRPr lang="da-DK" altLang="da-DK" sz="14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he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jump through levels. Click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then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go back in levels use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-TAB</a:t>
            </a:r>
            <a:endParaRPr 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ely, </a:t>
            </a: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</a:t>
            </a:r>
            <a:r>
              <a:rPr 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rease</a:t>
            </a:r>
            <a:br>
              <a:rPr 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st level can be used</a:t>
            </a:r>
          </a:p>
          <a:p>
            <a:pPr eaLnBrk="1" hangingPunct="1">
              <a:spcAft>
                <a:spcPts val="600"/>
              </a:spcAft>
              <a:defRPr/>
            </a:pPr>
            <a:endParaRPr lang="da-DK" sz="900" baseline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</a:t>
            </a: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bullet 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ete bullet for regular text.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bullet button to reaply the correct bullet agai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SLIDES &amp; LAYOU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menu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Slide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the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 to insert a new slide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layou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900" dirty="0" err="1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Click</a:t>
            </a:r>
            <a:r>
              <a:rPr lang="da-DK" sz="900" dirty="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 on the </a:t>
            </a:r>
            <a:r>
              <a:rPr lang="da-DK" sz="900" dirty="0" err="1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arrownext</a:t>
            </a:r>
            <a:r>
              <a:rPr lang="da-DK" sz="900" dirty="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 to </a:t>
            </a:r>
            <a:r>
              <a:rPr lang="da-DK" sz="900" b="1" dirty="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Layout</a:t>
            </a:r>
            <a:br>
              <a:rPr lang="da-DK" sz="900" b="1" dirty="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</a:br>
            <a:r>
              <a:rPr lang="da-DK" sz="900" dirty="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to view a </a:t>
            </a:r>
            <a:r>
              <a:rPr lang="da-DK" sz="900" dirty="0" err="1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dropdown</a:t>
            </a:r>
            <a:r>
              <a:rPr lang="da-DK" sz="900" dirty="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 menu of </a:t>
            </a:r>
            <a:r>
              <a:rPr lang="da-DK" sz="900" dirty="0" err="1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possible</a:t>
            </a:r>
            <a:r>
              <a:rPr lang="da-DK" sz="900" dirty="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 slide layouts</a:t>
            </a:r>
            <a:b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</a:t>
            </a:r>
            <a:r>
              <a:rPr lang="da-DK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u to reset position, size</a:t>
            </a:r>
            <a:r>
              <a:rPr lang="da-DK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formatting of the </a:t>
            </a:r>
            <a:br>
              <a:rPr lang="da-DK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 placeholders to their default settings</a:t>
            </a:r>
            <a:endParaRPr lang="da-DK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3" name="Picture 2">
            <a:extLst>
              <a:ext uri="{FF2B5EF4-FFF2-40B4-BE49-F238E27FC236}">
                <a16:creationId xmlns:a16="http://schemas.microsoft.com/office/drawing/2014/main" id="{7082C8DC-C092-4676-B834-847B1F28585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10609" y="3248359"/>
            <a:ext cx="257143" cy="285714"/>
          </a:xfrm>
          <a:prstGeom prst="rect">
            <a:avLst/>
          </a:prstGeom>
        </p:spPr>
      </p:pic>
      <p:pic>
        <p:nvPicPr>
          <p:cNvPr id="46" name="Picture 29">
            <a:extLst>
              <a:ext uri="{FF2B5EF4-FFF2-40B4-BE49-F238E27FC236}">
                <a16:creationId xmlns:a16="http://schemas.microsoft.com/office/drawing/2014/main" id="{6B35B93D-CCEE-48AF-A769-8729CC05BE8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111150" y="2525176"/>
            <a:ext cx="457143" cy="257143"/>
          </a:xfrm>
          <a:prstGeom prst="rect">
            <a:avLst/>
          </a:prstGeom>
        </p:spPr>
      </p:pic>
      <p:pic>
        <p:nvPicPr>
          <p:cNvPr id="51" name="Picture 33">
            <a:extLst>
              <a:ext uri="{FF2B5EF4-FFF2-40B4-BE49-F238E27FC236}">
                <a16:creationId xmlns:a16="http://schemas.microsoft.com/office/drawing/2014/main" id="{939F9DAB-8633-4819-950D-F5E391BF77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3901" t="45142" r="62601" b="9046"/>
          <a:stretch/>
        </p:blipFill>
        <p:spPr>
          <a:xfrm>
            <a:off x="7254412" y="3044335"/>
            <a:ext cx="341204" cy="321707"/>
          </a:xfrm>
          <a:prstGeom prst="rect">
            <a:avLst/>
          </a:prstGeom>
        </p:spPr>
      </p:pic>
      <p:pic>
        <p:nvPicPr>
          <p:cNvPr id="55" name="Picture 16">
            <a:extLst>
              <a:ext uri="{FF2B5EF4-FFF2-40B4-BE49-F238E27FC236}">
                <a16:creationId xmlns:a16="http://schemas.microsoft.com/office/drawing/2014/main" id="{A13B127D-1BE4-4C8F-96F6-59C8D10D8F4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117031" y="4238911"/>
            <a:ext cx="328881" cy="505501"/>
          </a:xfrm>
          <a:prstGeom prst="rect">
            <a:avLst/>
          </a:prstGeom>
        </p:spPr>
      </p:pic>
      <p:pic>
        <p:nvPicPr>
          <p:cNvPr id="56" name="Picture 20">
            <a:extLst>
              <a:ext uri="{FF2B5EF4-FFF2-40B4-BE49-F238E27FC236}">
                <a16:creationId xmlns:a16="http://schemas.microsoft.com/office/drawing/2014/main" id="{5730DD9A-26F6-4C14-AE7D-221D2B3F38DD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3117031" y="5567064"/>
            <a:ext cx="538465" cy="172841"/>
          </a:xfrm>
          <a:prstGeom prst="rect">
            <a:avLst/>
          </a:prstGeom>
        </p:spPr>
      </p:pic>
      <p:pic>
        <p:nvPicPr>
          <p:cNvPr id="57" name="Picture 19">
            <a:extLst>
              <a:ext uri="{FF2B5EF4-FFF2-40B4-BE49-F238E27FC236}">
                <a16:creationId xmlns:a16="http://schemas.microsoft.com/office/drawing/2014/main" id="{E210FBD4-B8B9-4AFA-9670-2FEBAA1CF374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310433" y="3854075"/>
            <a:ext cx="313788" cy="543900"/>
          </a:xfrm>
          <a:prstGeom prst="rect">
            <a:avLst/>
          </a:prstGeom>
        </p:spPr>
      </p:pic>
      <p:sp>
        <p:nvSpPr>
          <p:cNvPr id="61" name="Text Box 4">
            <a:extLst>
              <a:ext uri="{FF2B5EF4-FFF2-40B4-BE49-F238E27FC236}">
                <a16:creationId xmlns:a16="http://schemas.microsoft.com/office/drawing/2014/main" id="{DD6A81B7-1FEE-46CF-A623-23E99CFEAF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729773" y="1533525"/>
            <a:ext cx="2358243" cy="3908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HEADER &amp;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 this at the very end to apply the change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er and Footer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the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 (write the desired text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 to All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f only used on one sli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GRIDLINES</a:t>
            </a:r>
            <a:endParaRPr lang="da-DK" sz="16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w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 and set tick mark next to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s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Alt + F9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quick view of guides</a:t>
            </a: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SLIDES &amp; SLIDE ELEME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predefined slides and elements from the Templafy button. Choose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s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 elements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om the dropdown menu or from the buttons in the Templafy pane on the right side of the screen</a:t>
            </a:r>
            <a:endParaRPr lang="da-DK" alt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Fast overskrift">
            <a:extLst>
              <a:ext uri="{FF2B5EF4-FFF2-40B4-BE49-F238E27FC236}">
                <a16:creationId xmlns:a16="http://schemas.microsoft.com/office/drawing/2014/main" id="{09C05D50-8477-4113-8B72-9C373B0FF9F9}"/>
              </a:ext>
            </a:extLst>
          </p:cNvPr>
          <p:cNvSpPr txBox="1"/>
          <p:nvPr userDrawn="1"/>
        </p:nvSpPr>
        <p:spPr>
          <a:xfrm>
            <a:off x="790730" y="459169"/>
            <a:ext cx="11109321" cy="6501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da-DK" sz="32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 &amp; TRICKS - YOUR USER GUIDE</a:t>
            </a:r>
          </a:p>
        </p:txBody>
      </p:sp>
      <p:pic>
        <p:nvPicPr>
          <p:cNvPr id="66" name="Picture 2" descr="C:\Users\MAV~1.SKA\AppData\Local\Temp\SNAGHTMLe48c1e.PNG">
            <a:extLst>
              <a:ext uri="{FF2B5EF4-FFF2-40B4-BE49-F238E27FC236}">
                <a16:creationId xmlns:a16="http://schemas.microsoft.com/office/drawing/2014/main" id="{DAC63350-5850-40BB-87A2-CE01481E052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98223" y="4561358"/>
            <a:ext cx="650850" cy="973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6D83AD9C-98AE-450E-B202-15860002D52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3117030" y="5002523"/>
            <a:ext cx="475428" cy="17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471753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en-GB" sz="1400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430213" y="656823"/>
            <a:ext cx="11356977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4400" b="0" noProof="0" dirty="0">
                <a:solidFill>
                  <a:schemeClr val="bg1"/>
                </a:solidFill>
              </a:rPr>
              <a:t>If you see any </a:t>
            </a:r>
            <a:r>
              <a:rPr lang="en-GB" sz="4400" b="1" i="1" noProof="0" dirty="0">
                <a:solidFill>
                  <a:schemeClr val="bg1"/>
                </a:solidFill>
              </a:rPr>
              <a:t>layouts after this </a:t>
            </a:r>
            <a:r>
              <a:rPr lang="en-GB" sz="4400" b="0" i="0" noProof="0" dirty="0">
                <a:solidFill>
                  <a:schemeClr val="bg1"/>
                </a:solidFill>
              </a:rPr>
              <a:t>one</a:t>
            </a:r>
            <a:r>
              <a:rPr lang="en-GB" sz="4400" b="1" i="1" noProof="0" dirty="0">
                <a:solidFill>
                  <a:schemeClr val="bg1"/>
                </a:solidFill>
              </a:rPr>
              <a:t>,</a:t>
            </a:r>
            <a:br>
              <a:rPr lang="en-GB" sz="4400" b="0" i="0" noProof="0" dirty="0">
                <a:solidFill>
                  <a:schemeClr val="bg1"/>
                </a:solidFill>
              </a:rPr>
            </a:br>
            <a:r>
              <a:rPr lang="en-GB" sz="4400" b="0" noProof="0" dirty="0">
                <a:solidFill>
                  <a:schemeClr val="bg1"/>
                </a:solidFill>
              </a:rPr>
              <a:t>do not use them. These layouts </a:t>
            </a:r>
            <a:r>
              <a:rPr lang="en-GB" sz="4400" b="1" i="1" u="none" noProof="0" dirty="0">
                <a:solidFill>
                  <a:schemeClr val="bg1"/>
                </a:solidFill>
              </a:rPr>
              <a:t>are not </a:t>
            </a:r>
            <a:r>
              <a:rPr lang="en-GB" sz="4400" b="0" noProof="0" dirty="0">
                <a:solidFill>
                  <a:schemeClr val="bg1"/>
                </a:solidFill>
              </a:rPr>
              <a:t>part of our corporate template.</a:t>
            </a:r>
            <a:br>
              <a:rPr lang="en-GB" sz="2800" b="0" noProof="0" dirty="0">
                <a:solidFill>
                  <a:schemeClr val="bg1"/>
                </a:solidFill>
              </a:rPr>
            </a:br>
            <a:br>
              <a:rPr lang="en-GB" sz="2800" b="0" noProof="0" dirty="0">
                <a:solidFill>
                  <a:schemeClr val="bg1"/>
                </a:solidFill>
              </a:rPr>
            </a:br>
            <a:endParaRPr lang="en-GB" sz="2800" b="0" noProof="0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 bwMode="black">
          <a:xfrm rot="8100000">
            <a:off x="10404874" y="3325226"/>
            <a:ext cx="103678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 bwMode="black"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 bwMode="black"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430213" y="2588374"/>
            <a:ext cx="10152346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3800" b="1" i="1" noProof="0" dirty="0">
                <a:solidFill>
                  <a:schemeClr val="bg1"/>
                </a:solidFill>
              </a:rPr>
              <a:t>Do not use </a:t>
            </a:r>
            <a:endParaRPr lang="en-GB" sz="2400" b="1" i="1" dirty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430214" y="5186455"/>
            <a:ext cx="11356974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 dirty="0">
                <a:solidFill>
                  <a:schemeClr val="bg1"/>
                </a:solidFill>
              </a:rPr>
              <a:t>Due to PowerPoint’s standard Copy/Paste functionality extra undesirable layouts can appear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 dirty="0">
                <a:solidFill>
                  <a:schemeClr val="bg1"/>
                </a:solidFill>
              </a:rPr>
              <a:t>Also notice: Layouts after this might contain potential confidential information.</a:t>
            </a:r>
            <a:br>
              <a:rPr lang="en-GB" sz="1800" b="0" noProof="0" dirty="0">
                <a:solidFill>
                  <a:schemeClr val="bg1"/>
                </a:solidFill>
              </a:rPr>
            </a:br>
            <a:endParaRPr lang="en-GB" sz="1800" b="0" noProof="0" dirty="0">
              <a:solidFill>
                <a:schemeClr val="bg1"/>
              </a:solidFill>
            </a:endParaRPr>
          </a:p>
        </p:txBody>
      </p:sp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706505A8-87EA-4BA0-B698-35156BC765D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6F52A3B9-C46E-47C2-A1FB-F5434525BDF4}" type="datetime4">
              <a:rPr lang="en-GB" smtClean="0"/>
              <a:t>19 April 2023</a:t>
            </a:fld>
            <a:endParaRPr lang="en-GB" dirty="0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AB150C2C-2030-498B-8262-6BD5BCCBB34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5" name="Slide Number Placeholder 10" hidden="1">
            <a:extLst>
              <a:ext uri="{FF2B5EF4-FFF2-40B4-BE49-F238E27FC236}">
                <a16:creationId xmlns:a16="http://schemas.microsoft.com/office/drawing/2014/main" id="{E81B246F-92C7-4EF8-ACD0-05F73C7095B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111305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 oak shape A">
    <p:bg>
      <p:bgPr>
        <a:solidFill>
          <a:srgbClr val="FDC9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objekt 3">
            <a:extLst>
              <a:ext uri="{FF2B5EF4-FFF2-40B4-BE49-F238E27FC236}">
                <a16:creationId xmlns:a16="http://schemas.microsoft.com/office/drawing/2014/main" id="{58D7241C-1382-42A0-91AA-EBCB856DB47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2" name="Logo">
            <a:extLst>
              <a:ext uri="{FF2B5EF4-FFF2-40B4-BE49-F238E27FC236}">
                <a16:creationId xmlns:a16="http://schemas.microsoft.com/office/drawing/2014/main" id="{D85C6594-A61F-4F9B-8E7A-CB490490C7B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058708" y="277629"/>
            <a:ext cx="2851340" cy="612378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3EF108A4-48E9-4320-B99B-17F12B02E3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638" y="2333233"/>
            <a:ext cx="10623550" cy="1861077"/>
          </a:xfrm>
        </p:spPr>
        <p:txBody>
          <a:bodyPr anchor="ctr" anchorCtr="0"/>
          <a:lstStyle>
            <a:lvl1pPr algn="ctr">
              <a:lnSpc>
                <a:spcPct val="90000"/>
              </a:lnSpc>
              <a:defRPr sz="6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 on </a:t>
            </a:r>
            <a:br>
              <a:rPr lang="en-US" dirty="0"/>
            </a:br>
            <a:r>
              <a:rPr lang="en-US" dirty="0"/>
              <a:t>max two rows</a:t>
            </a:r>
            <a:endParaRPr lang="en-GB" dirty="0"/>
          </a:p>
        </p:txBody>
      </p:sp>
      <p:sp>
        <p:nvSpPr>
          <p:cNvPr id="17" name="Text Placeholder 20">
            <a:extLst>
              <a:ext uri="{FF2B5EF4-FFF2-40B4-BE49-F238E27FC236}">
                <a16:creationId xmlns:a16="http://schemas.microsoft.com/office/drawing/2014/main" id="{D82221A3-F8B6-4734-B404-8D27C11EB4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20913" y="4522577"/>
            <a:ext cx="7745412" cy="720000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b="0">
                <a:solidFill>
                  <a:schemeClr val="bg1"/>
                </a:solidFill>
                <a:latin typeface="Swedbank Headline Bold" panose="02000000000000000000" pitchFamily="50" charset="0"/>
              </a:defRPr>
            </a:lvl1pPr>
            <a:lvl2pPr marL="216000" indent="0" algn="ctr">
              <a:buNone/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image" descr="{&quot;templafy&quot;:{&quot;type&quot;:&quot;image&quot;,&quot;binding&quot;:&quot;Form.InformationClasses.BoxfrontPP&quot;,&quot;inheritDimensions&quot;:&quot;inheritNone&quot;,&quot;width&quot;:&quot;&quot;,&quot;height&quot;:&quot;0.98 cm&quot;,&quot;visibility&quot;:{&quot;action&quot;:&quot;hide&quot;,&quot;compareValue&quot;:&quot;Confidential&quot;,&quot;binding&quot;:&quot;Form.InformationClasses.Term&quot;,&quot;operator&quot;:&quot;notEquals&quot;}}}" title="Form.InformationClasses.BoxfrontPP">
            <a:extLst>
              <a:ext uri="{FF2B5EF4-FFF2-40B4-BE49-F238E27FC236}">
                <a16:creationId xmlns:a16="http://schemas.microsoft.com/office/drawing/2014/main" id="{B225BF8E-66BB-491A-9141-06C1A7A6C49A}"/>
              </a:ext>
            </a:extLst>
          </p:cNvPr>
          <p:cNvSpPr/>
          <p:nvPr userDrawn="1"/>
        </p:nvSpPr>
        <p:spPr>
          <a:xfrm>
            <a:off x="-2707" y="354123"/>
            <a:ext cx="1839621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rIns="162000" rtlCol="0" anchor="ctr"/>
          <a:lstStyle/>
          <a:p>
            <a:pPr algn="r">
              <a:spcBef>
                <a:spcPts val="600"/>
              </a:spcBef>
            </a:pPr>
            <a:endParaRPr lang="en-GB" sz="1400" noProof="0" dirty="0">
              <a:solidFill>
                <a:schemeClr val="bg2"/>
              </a:solidFill>
            </a:endParaRPr>
          </a:p>
        </p:txBody>
      </p:sp>
      <p:sp>
        <p:nvSpPr>
          <p:cNvPr id="15" name="text" descr="{&quot;templafy&quot;:{&quot;type&quot;:&quot;text&quot;,&quot;binding&quot;:&quot;Form.InformationClasses.TermfrontPP&quot;}}" title="Form.InformationClasses.TermfrontPP">
            <a:extLst>
              <a:ext uri="{FF2B5EF4-FFF2-40B4-BE49-F238E27FC236}">
                <a16:creationId xmlns:a16="http://schemas.microsoft.com/office/drawing/2014/main" id="{C509ECCB-5988-426B-867E-88063492F2EF}"/>
              </a:ext>
            </a:extLst>
          </p:cNvPr>
          <p:cNvSpPr/>
          <p:nvPr userDrawn="1"/>
        </p:nvSpPr>
        <p:spPr>
          <a:xfrm>
            <a:off x="-2707" y="354123"/>
            <a:ext cx="1839621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rIns="162000" rtlCol="0" anchor="ctr"/>
          <a:lstStyle/>
          <a:p>
            <a:pPr algn="r">
              <a:spcBef>
                <a:spcPts val="600"/>
              </a:spcBef>
            </a:pPr>
            <a:endParaRPr lang="en-GB" sz="1400" noProof="0" dirty="0">
              <a:solidFill>
                <a:srgbClr val="FF5F00"/>
              </a:solidFill>
              <a:latin typeface="Swedbank Headline Bold" panose="020000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675876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 oak shape B">
    <p:bg>
      <p:bgPr>
        <a:solidFill>
          <a:srgbClr val="F8DB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objekt 3">
            <a:extLst>
              <a:ext uri="{FF2B5EF4-FFF2-40B4-BE49-F238E27FC236}">
                <a16:creationId xmlns:a16="http://schemas.microsoft.com/office/drawing/2014/main" id="{58D7241C-1382-42A0-91AA-EBCB856DB47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2" name="Logo">
            <a:extLst>
              <a:ext uri="{FF2B5EF4-FFF2-40B4-BE49-F238E27FC236}">
                <a16:creationId xmlns:a16="http://schemas.microsoft.com/office/drawing/2014/main" id="{D85C6594-A61F-4F9B-8E7A-CB490490C7B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058708" y="277629"/>
            <a:ext cx="2851340" cy="612378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3EF108A4-48E9-4320-B99B-17F12B02E3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638" y="2333233"/>
            <a:ext cx="10623550" cy="1861077"/>
          </a:xfrm>
        </p:spPr>
        <p:txBody>
          <a:bodyPr anchor="ctr" anchorCtr="0"/>
          <a:lstStyle>
            <a:lvl1pPr algn="ctr">
              <a:lnSpc>
                <a:spcPct val="90000"/>
              </a:lnSpc>
              <a:defRPr sz="6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 on </a:t>
            </a:r>
            <a:br>
              <a:rPr lang="en-US" dirty="0"/>
            </a:br>
            <a:r>
              <a:rPr lang="en-US" dirty="0"/>
              <a:t>max two rows</a:t>
            </a:r>
            <a:endParaRPr lang="en-GB" dirty="0"/>
          </a:p>
        </p:txBody>
      </p:sp>
      <p:sp>
        <p:nvSpPr>
          <p:cNvPr id="17" name="Text Placeholder 20">
            <a:extLst>
              <a:ext uri="{FF2B5EF4-FFF2-40B4-BE49-F238E27FC236}">
                <a16:creationId xmlns:a16="http://schemas.microsoft.com/office/drawing/2014/main" id="{D82221A3-F8B6-4734-B404-8D27C11EB4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20913" y="4522577"/>
            <a:ext cx="7745412" cy="720000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b="0">
                <a:solidFill>
                  <a:schemeClr val="bg1"/>
                </a:solidFill>
                <a:latin typeface="Swedbank Headline Bold" panose="02000000000000000000" pitchFamily="50" charset="0"/>
              </a:defRPr>
            </a:lvl1pPr>
            <a:lvl2pPr marL="216000" indent="0" algn="ctr">
              <a:buNone/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image" descr="{&quot;templafy&quot;:{&quot;type&quot;:&quot;image&quot;,&quot;binding&quot;:&quot;Form.InformationClasses.BoxfrontPP&quot;,&quot;inheritDimensions&quot;:&quot;inheritNone&quot;,&quot;width&quot;:&quot;&quot;,&quot;height&quot;:&quot;0.98 cm&quot;,&quot;visibility&quot;:{&quot;action&quot;:&quot;hide&quot;,&quot;compareValue&quot;:&quot;Confidential&quot;,&quot;binding&quot;:&quot;Form.InformationClasses.Term&quot;,&quot;operator&quot;:&quot;notEquals&quot;}}}" title="Form.InformationClasses.BoxfrontPP">
            <a:extLst>
              <a:ext uri="{FF2B5EF4-FFF2-40B4-BE49-F238E27FC236}">
                <a16:creationId xmlns:a16="http://schemas.microsoft.com/office/drawing/2014/main" id="{CF324CE7-5FD2-4135-A4F0-D1700EE5B6C9}"/>
              </a:ext>
            </a:extLst>
          </p:cNvPr>
          <p:cNvSpPr/>
          <p:nvPr userDrawn="1"/>
        </p:nvSpPr>
        <p:spPr>
          <a:xfrm>
            <a:off x="-2707" y="354123"/>
            <a:ext cx="1839621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rIns="162000" rtlCol="0" anchor="ctr"/>
          <a:lstStyle/>
          <a:p>
            <a:pPr algn="r">
              <a:spcBef>
                <a:spcPts val="600"/>
              </a:spcBef>
            </a:pPr>
            <a:endParaRPr lang="en-GB" sz="1400" noProof="0" dirty="0">
              <a:solidFill>
                <a:schemeClr val="bg2"/>
              </a:solidFill>
            </a:endParaRPr>
          </a:p>
        </p:txBody>
      </p:sp>
      <p:sp>
        <p:nvSpPr>
          <p:cNvPr id="15" name="text" descr="{&quot;templafy&quot;:{&quot;type&quot;:&quot;text&quot;,&quot;binding&quot;:&quot;Form.InformationClasses.TermfrontPP&quot;}}" title="Form.InformationClasses.TermfrontPP">
            <a:extLst>
              <a:ext uri="{FF2B5EF4-FFF2-40B4-BE49-F238E27FC236}">
                <a16:creationId xmlns:a16="http://schemas.microsoft.com/office/drawing/2014/main" id="{D8596AB6-34EE-4DCB-8692-FD8862748755}"/>
              </a:ext>
            </a:extLst>
          </p:cNvPr>
          <p:cNvSpPr/>
          <p:nvPr userDrawn="1"/>
        </p:nvSpPr>
        <p:spPr>
          <a:xfrm>
            <a:off x="-2707" y="354123"/>
            <a:ext cx="1839621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rIns="162000" rtlCol="0" anchor="ctr"/>
          <a:lstStyle/>
          <a:p>
            <a:pPr algn="r">
              <a:spcBef>
                <a:spcPts val="600"/>
              </a:spcBef>
            </a:pPr>
            <a:endParaRPr lang="en-GB" sz="1400" noProof="0" dirty="0">
              <a:solidFill>
                <a:srgbClr val="FF5F00"/>
              </a:solidFill>
              <a:latin typeface="Swedbank Headline Bold" panose="020000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114968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orange background">
    <p:bg>
      <p:bgPr>
        <a:solidFill>
          <a:srgbClr val="FF5E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FFD127A7-962D-42AA-95EE-BE7697DE2E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638" y="2333233"/>
            <a:ext cx="10623550" cy="1861077"/>
          </a:xfrm>
        </p:spPr>
        <p:txBody>
          <a:bodyPr anchor="ctr" anchorCtr="0"/>
          <a:lstStyle>
            <a:lvl1pPr algn="ctr">
              <a:lnSpc>
                <a:spcPct val="90000"/>
              </a:lnSpc>
              <a:defRPr sz="6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 on </a:t>
            </a:r>
            <a:br>
              <a:rPr lang="en-US" dirty="0"/>
            </a:br>
            <a:r>
              <a:rPr lang="en-US" dirty="0"/>
              <a:t>max two rows</a:t>
            </a:r>
            <a:endParaRPr lang="en-GB" dirty="0"/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D4130A02-9CAF-430B-94BA-0E080566F33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20913" y="4522577"/>
            <a:ext cx="7745412" cy="720000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b="0">
                <a:solidFill>
                  <a:schemeClr val="bg1"/>
                </a:solidFill>
                <a:latin typeface="Swedbank Headline Bold" panose="02000000000000000000" pitchFamily="50" charset="0"/>
              </a:defRPr>
            </a:lvl1pPr>
            <a:lvl2pPr marL="216000" indent="0" algn="ctr">
              <a:buNone/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D85C6594-A61F-4F9B-8E7A-CB490490C7B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058708" y="277629"/>
            <a:ext cx="2851340" cy="612378"/>
          </a:xfrm>
          <a:prstGeom prst="rect">
            <a:avLst/>
          </a:prstGeom>
        </p:spPr>
      </p:pic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image" descr="{&quot;templafy&quot;:{&quot;type&quot;:&quot;image&quot;,&quot;binding&quot;:&quot;Form.InformationClasses.BoxfrontPP&quot;,&quot;inheritDimensions&quot;:&quot;inheritNone&quot;,&quot;width&quot;:&quot;&quot;,&quot;height&quot;:&quot;0.98 cm&quot;,&quot;visibility&quot;:{&quot;action&quot;:&quot;hide&quot;,&quot;compareValue&quot;:&quot;Confidential&quot;,&quot;binding&quot;:&quot;Form.InformationClasses.Term&quot;,&quot;operator&quot;:&quot;notEquals&quot;}}}" title="Form.InformationClasses.BoxfrontPP">
            <a:extLst>
              <a:ext uri="{FF2B5EF4-FFF2-40B4-BE49-F238E27FC236}">
                <a16:creationId xmlns:a16="http://schemas.microsoft.com/office/drawing/2014/main" id="{6299223B-889F-4629-A3FC-BA5DDD48F2FE}"/>
              </a:ext>
            </a:extLst>
          </p:cNvPr>
          <p:cNvSpPr/>
          <p:nvPr userDrawn="1"/>
        </p:nvSpPr>
        <p:spPr>
          <a:xfrm>
            <a:off x="-2707" y="354123"/>
            <a:ext cx="1839621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rIns="162000" rtlCol="0" anchor="ctr"/>
          <a:lstStyle/>
          <a:p>
            <a:pPr algn="r">
              <a:spcBef>
                <a:spcPts val="600"/>
              </a:spcBef>
            </a:pPr>
            <a:endParaRPr lang="en-GB" sz="1400" noProof="0" dirty="0">
              <a:solidFill>
                <a:schemeClr val="bg2"/>
              </a:solidFill>
            </a:endParaRPr>
          </a:p>
        </p:txBody>
      </p:sp>
      <p:sp>
        <p:nvSpPr>
          <p:cNvPr id="15" name="text" descr="{&quot;templafy&quot;:{&quot;type&quot;:&quot;text&quot;,&quot;binding&quot;:&quot;Form.InformationClasses.TermfrontPP&quot;}}" title="Form.InformationClasses.TermfrontPP">
            <a:extLst>
              <a:ext uri="{FF2B5EF4-FFF2-40B4-BE49-F238E27FC236}">
                <a16:creationId xmlns:a16="http://schemas.microsoft.com/office/drawing/2014/main" id="{462FC8BB-FEA5-49FC-8A04-99F7215C0309}"/>
              </a:ext>
            </a:extLst>
          </p:cNvPr>
          <p:cNvSpPr/>
          <p:nvPr userDrawn="1"/>
        </p:nvSpPr>
        <p:spPr>
          <a:xfrm>
            <a:off x="-2707" y="354123"/>
            <a:ext cx="1839621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rIns="162000" rtlCol="0" anchor="ctr"/>
          <a:lstStyle/>
          <a:p>
            <a:pPr algn="r">
              <a:spcBef>
                <a:spcPts val="600"/>
              </a:spcBef>
            </a:pPr>
            <a:endParaRPr lang="en-GB" sz="1400" noProof="0" dirty="0">
              <a:solidFill>
                <a:srgbClr val="FF5F00"/>
              </a:solidFill>
              <a:latin typeface="Swedbank Headline Bold" panose="020000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816716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, oak shape &amp; image">
    <p:bg>
      <p:bgPr>
        <a:solidFill>
          <a:srgbClr val="FF5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Logo">
            <a:extLst>
              <a:ext uri="{FF2B5EF4-FFF2-40B4-BE49-F238E27FC236}">
                <a16:creationId xmlns:a16="http://schemas.microsoft.com/office/drawing/2014/main" id="{AFEA9D5F-A4C6-434B-B5A6-AD71825F9A6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058708" y="277629"/>
            <a:ext cx="2851340" cy="612378"/>
          </a:xfrm>
          <a:prstGeom prst="rect">
            <a:avLst/>
          </a:prstGeom>
        </p:spPr>
      </p:pic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FB5A6843-5FCE-4D1F-8A6E-DDEFE680F5A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879726" y="1332000"/>
            <a:ext cx="9312275" cy="5526000"/>
          </a:xfrm>
          <a:custGeom>
            <a:avLst/>
            <a:gdLst>
              <a:gd name="connsiteX0" fmla="*/ 7421459 w 9312275"/>
              <a:gd name="connsiteY0" fmla="*/ 0 h 5526000"/>
              <a:gd name="connsiteX1" fmla="*/ 7476336 w 9312275"/>
              <a:gd name="connsiteY1" fmla="*/ 0 h 5526000"/>
              <a:gd name="connsiteX2" fmla="*/ 7588825 w 9312275"/>
              <a:gd name="connsiteY2" fmla="*/ 4117 h 5526000"/>
              <a:gd name="connsiteX3" fmla="*/ 9188074 w 9312275"/>
              <a:gd name="connsiteY3" fmla="*/ 289873 h 5526000"/>
              <a:gd name="connsiteX4" fmla="*/ 9312275 w 9312275"/>
              <a:gd name="connsiteY4" fmla="*/ 259466 h 5526000"/>
              <a:gd name="connsiteX5" fmla="*/ 9312275 w 9312275"/>
              <a:gd name="connsiteY5" fmla="*/ 5526000 h 5526000"/>
              <a:gd name="connsiteX6" fmla="*/ 0 w 9312275"/>
              <a:gd name="connsiteY6" fmla="*/ 5526000 h 5526000"/>
              <a:gd name="connsiteX7" fmla="*/ 285750 w 9312275"/>
              <a:gd name="connsiteY7" fmla="*/ 4771620 h 5526000"/>
              <a:gd name="connsiteX8" fmla="*/ 1178560 w 9312275"/>
              <a:gd name="connsiteY8" fmla="*/ 4529685 h 5526000"/>
              <a:gd name="connsiteX9" fmla="*/ 2059306 w 9312275"/>
              <a:gd name="connsiteY9" fmla="*/ 2409420 h 5526000"/>
              <a:gd name="connsiteX10" fmla="*/ 4157345 w 9312275"/>
              <a:gd name="connsiteY10" fmla="*/ 1871575 h 5526000"/>
              <a:gd name="connsiteX11" fmla="*/ 5100320 w 9312275"/>
              <a:gd name="connsiteY11" fmla="*/ 364720 h 5526000"/>
              <a:gd name="connsiteX12" fmla="*/ 6146800 w 9312275"/>
              <a:gd name="connsiteY12" fmla="*/ 528550 h 5526000"/>
              <a:gd name="connsiteX13" fmla="*/ 7337790 w 9312275"/>
              <a:gd name="connsiteY13" fmla="*/ 3289 h 552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312275" h="5526000">
                <a:moveTo>
                  <a:pt x="7421459" y="0"/>
                </a:moveTo>
                <a:lnTo>
                  <a:pt x="7476336" y="0"/>
                </a:lnTo>
                <a:lnTo>
                  <a:pt x="7588825" y="4117"/>
                </a:lnTo>
                <a:cubicBezTo>
                  <a:pt x="8227954" y="50954"/>
                  <a:pt x="8618953" y="398610"/>
                  <a:pt x="9188074" y="289873"/>
                </a:cubicBezTo>
                <a:lnTo>
                  <a:pt x="9312275" y="259466"/>
                </a:lnTo>
                <a:lnTo>
                  <a:pt x="9312275" y="5526000"/>
                </a:lnTo>
                <a:lnTo>
                  <a:pt x="0" y="5526000"/>
                </a:lnTo>
                <a:cubicBezTo>
                  <a:pt x="17780" y="5292956"/>
                  <a:pt x="-53975" y="4951325"/>
                  <a:pt x="285750" y="4771620"/>
                </a:cubicBezTo>
                <a:cubicBezTo>
                  <a:pt x="697865" y="4553180"/>
                  <a:pt x="861695" y="4770985"/>
                  <a:pt x="1178560" y="4529685"/>
                </a:cubicBezTo>
                <a:cubicBezTo>
                  <a:pt x="2386330" y="3608300"/>
                  <a:pt x="1329690" y="3231745"/>
                  <a:pt x="2059306" y="2409420"/>
                </a:cubicBezTo>
                <a:cubicBezTo>
                  <a:pt x="2985136" y="1364845"/>
                  <a:pt x="2668905" y="2404975"/>
                  <a:pt x="4157345" y="1871575"/>
                </a:cubicBezTo>
                <a:cubicBezTo>
                  <a:pt x="4869181" y="1616305"/>
                  <a:pt x="4685665" y="621895"/>
                  <a:pt x="5100320" y="364720"/>
                </a:cubicBezTo>
                <a:cubicBezTo>
                  <a:pt x="5508625" y="111355"/>
                  <a:pt x="5747385" y="632690"/>
                  <a:pt x="6146800" y="528550"/>
                </a:cubicBezTo>
                <a:cubicBezTo>
                  <a:pt x="6676033" y="390438"/>
                  <a:pt x="6814034" y="45826"/>
                  <a:pt x="7337790" y="3289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lIns="4896000" tIns="1224000" rIns="180000">
            <a:noAutofit/>
          </a:bodyPr>
          <a:lstStyle>
            <a:lvl1pPr marL="0" indent="0" algn="r">
              <a:buNone/>
              <a:defRPr sz="2400"/>
            </a:lvl1pPr>
          </a:lstStyle>
          <a:p>
            <a:r>
              <a:rPr lang="en-GB" dirty="0"/>
              <a:t>Add an image: Click here, insert image via Templafy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BB63C34-DE30-478C-81B2-BE02535AAF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6722" y="752384"/>
            <a:ext cx="6340488" cy="1623066"/>
          </a:xfrm>
        </p:spPr>
        <p:txBody>
          <a:bodyPr anchor="ctr" anchorCtr="0"/>
          <a:lstStyle>
            <a:lvl1pPr algn="l">
              <a:lnSpc>
                <a:spcPct val="90000"/>
              </a:lnSpc>
              <a:defRPr sz="5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 on max two rows</a:t>
            </a:r>
            <a:endParaRPr lang="en-GB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9DA2D730-07CB-40C0-940C-70829D9096A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6722" y="2650117"/>
            <a:ext cx="4312904" cy="7200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b="0">
                <a:solidFill>
                  <a:schemeClr val="bg1"/>
                </a:solidFill>
                <a:latin typeface="Swedbank Headline Bold" panose="02000000000000000000" pitchFamily="50" charset="0"/>
              </a:defRPr>
            </a:lvl1pPr>
            <a:lvl2pPr marL="216000" indent="0" algn="ctr">
              <a:buNone/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image" descr="{&quot;templafy&quot;:{&quot;type&quot;:&quot;image&quot;,&quot;binding&quot;:&quot;Form.InformationClasses.BoxfrontPP&quot;,&quot;inheritDimensions&quot;:&quot;inheritNone&quot;,&quot;width&quot;:&quot;&quot;,&quot;height&quot;:&quot;0.98 cm&quot;,&quot;visibility&quot;:{&quot;action&quot;:&quot;hide&quot;,&quot;compareValue&quot;:&quot;Confidential&quot;,&quot;binding&quot;:&quot;Form.InformationClasses.Term&quot;,&quot;operator&quot;:&quot;notEquals&quot;}}}" title="Form.InformationClasses.BoxfrontPP">
            <a:extLst>
              <a:ext uri="{FF2B5EF4-FFF2-40B4-BE49-F238E27FC236}">
                <a16:creationId xmlns:a16="http://schemas.microsoft.com/office/drawing/2014/main" id="{90D72F7F-983F-4F8B-AC13-F632AA48312B}"/>
              </a:ext>
            </a:extLst>
          </p:cNvPr>
          <p:cNvSpPr/>
          <p:nvPr userDrawn="1"/>
        </p:nvSpPr>
        <p:spPr>
          <a:xfrm>
            <a:off x="-2707" y="354123"/>
            <a:ext cx="1839621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rIns="162000" rtlCol="0" anchor="ctr"/>
          <a:lstStyle/>
          <a:p>
            <a:pPr algn="r">
              <a:spcBef>
                <a:spcPts val="600"/>
              </a:spcBef>
            </a:pPr>
            <a:endParaRPr lang="en-GB" sz="1400" noProof="0" dirty="0">
              <a:solidFill>
                <a:schemeClr val="bg2"/>
              </a:solidFill>
            </a:endParaRPr>
          </a:p>
        </p:txBody>
      </p:sp>
      <p:sp>
        <p:nvSpPr>
          <p:cNvPr id="12" name="text" descr="{&quot;templafy&quot;:{&quot;type&quot;:&quot;text&quot;,&quot;binding&quot;:&quot;Form.InformationClasses.TermfrontPP&quot;}}" title="Form.InformationClasses.TermfrontPP">
            <a:extLst>
              <a:ext uri="{FF2B5EF4-FFF2-40B4-BE49-F238E27FC236}">
                <a16:creationId xmlns:a16="http://schemas.microsoft.com/office/drawing/2014/main" id="{A7C6D517-0DE6-41DA-9F77-AC26DA704FBE}"/>
              </a:ext>
            </a:extLst>
          </p:cNvPr>
          <p:cNvSpPr/>
          <p:nvPr userDrawn="1"/>
        </p:nvSpPr>
        <p:spPr>
          <a:xfrm>
            <a:off x="-2707" y="354123"/>
            <a:ext cx="1839621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rIns="162000" rtlCol="0" anchor="ctr"/>
          <a:lstStyle/>
          <a:p>
            <a:pPr algn="r">
              <a:spcBef>
                <a:spcPts val="600"/>
              </a:spcBef>
            </a:pPr>
            <a:endParaRPr lang="en-GB" sz="1400" noProof="0" dirty="0">
              <a:solidFill>
                <a:srgbClr val="FF5F00"/>
              </a:solidFill>
              <a:latin typeface="Swedbank Headline Bold" panose="020000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96467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oak background">
    <p:bg>
      <p:bgPr>
        <a:blipFill dpi="0" rotWithShape="1">
          <a:blip r:embed="rId2">
            <a:lum/>
          </a:blip>
          <a:srcRect/>
          <a:stretch>
            <a:fillRect t="-17000" b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FFD127A7-962D-42AA-95EE-BE7697DE2E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638" y="2333233"/>
            <a:ext cx="10623550" cy="1861077"/>
          </a:xfrm>
        </p:spPr>
        <p:txBody>
          <a:bodyPr anchor="ctr" anchorCtr="0"/>
          <a:lstStyle>
            <a:lvl1pPr algn="ctr">
              <a:lnSpc>
                <a:spcPct val="90000"/>
              </a:lnSpc>
              <a:defRPr sz="6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 on </a:t>
            </a:r>
            <a:br>
              <a:rPr lang="en-US" dirty="0"/>
            </a:br>
            <a:r>
              <a:rPr lang="en-US" dirty="0"/>
              <a:t>max two rows</a:t>
            </a:r>
            <a:endParaRPr lang="en-GB" dirty="0"/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D4130A02-9CAF-430B-94BA-0E080566F33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20913" y="4522577"/>
            <a:ext cx="7745412" cy="720000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b="0">
                <a:solidFill>
                  <a:schemeClr val="bg1"/>
                </a:solidFill>
                <a:latin typeface="Swedbank Headline Bold" panose="02000000000000000000" pitchFamily="50" charset="0"/>
              </a:defRPr>
            </a:lvl1pPr>
            <a:lvl2pPr marL="216000" indent="0" algn="ctr">
              <a:buNone/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D85C6594-A61F-4F9B-8E7A-CB490490C7B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058708" y="277629"/>
            <a:ext cx="2851340" cy="612378"/>
          </a:xfrm>
          <a:prstGeom prst="rect">
            <a:avLst/>
          </a:prstGeom>
        </p:spPr>
      </p:pic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image" descr="{&quot;templafy&quot;:{&quot;type&quot;:&quot;image&quot;,&quot;binding&quot;:&quot;Form.InformationClasses.BoxfrontPP&quot;,&quot;inheritDimensions&quot;:&quot;inheritNone&quot;,&quot;width&quot;:&quot;&quot;,&quot;height&quot;:&quot;0.98 cm&quot;,&quot;visibility&quot;:{&quot;action&quot;:&quot;hide&quot;,&quot;compareValue&quot;:&quot;Confidential&quot;,&quot;binding&quot;:&quot;Form.InformationClasses.Term&quot;,&quot;operator&quot;:&quot;notEquals&quot;}}}" title="Form.InformationClasses.BoxfrontPP">
            <a:extLst>
              <a:ext uri="{FF2B5EF4-FFF2-40B4-BE49-F238E27FC236}">
                <a16:creationId xmlns:a16="http://schemas.microsoft.com/office/drawing/2014/main" id="{034CBF5A-0AEB-440A-B77F-B220E4531520}"/>
              </a:ext>
            </a:extLst>
          </p:cNvPr>
          <p:cNvSpPr/>
          <p:nvPr userDrawn="1"/>
        </p:nvSpPr>
        <p:spPr>
          <a:xfrm>
            <a:off x="-2707" y="354123"/>
            <a:ext cx="1839621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rIns="162000" rtlCol="0" anchor="ctr"/>
          <a:lstStyle/>
          <a:p>
            <a:pPr algn="r">
              <a:spcBef>
                <a:spcPts val="600"/>
              </a:spcBef>
            </a:pPr>
            <a:endParaRPr lang="en-GB" sz="1400" noProof="0" dirty="0">
              <a:solidFill>
                <a:schemeClr val="bg2"/>
              </a:solidFill>
            </a:endParaRPr>
          </a:p>
        </p:txBody>
      </p:sp>
      <p:sp>
        <p:nvSpPr>
          <p:cNvPr id="15" name="text" descr="{&quot;templafy&quot;:{&quot;type&quot;:&quot;text&quot;,&quot;binding&quot;:&quot;Form.InformationClasses.TermfrontPP&quot;}}" title="Form.InformationClasses.TermfrontPP">
            <a:extLst>
              <a:ext uri="{FF2B5EF4-FFF2-40B4-BE49-F238E27FC236}">
                <a16:creationId xmlns:a16="http://schemas.microsoft.com/office/drawing/2014/main" id="{056657CC-D20B-497A-9D8F-22EED568B5B4}"/>
              </a:ext>
            </a:extLst>
          </p:cNvPr>
          <p:cNvSpPr/>
          <p:nvPr userDrawn="1"/>
        </p:nvSpPr>
        <p:spPr>
          <a:xfrm>
            <a:off x="-2707" y="354123"/>
            <a:ext cx="1839621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rIns="162000" rtlCol="0" anchor="ctr"/>
          <a:lstStyle/>
          <a:p>
            <a:pPr algn="r">
              <a:spcBef>
                <a:spcPts val="600"/>
              </a:spcBef>
            </a:pPr>
            <a:endParaRPr lang="en-GB" sz="1400" noProof="0" dirty="0">
              <a:solidFill>
                <a:srgbClr val="FF5F00"/>
              </a:solidFill>
              <a:latin typeface="Swedbank Headline Bold" panose="020000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402632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oak background">
    <p:bg>
      <p:bgPr>
        <a:blipFill dpi="0" rotWithShape="1">
          <a:blip r:embed="rId2">
            <a:lum/>
          </a:blip>
          <a:srcRect/>
          <a:stretch>
            <a:fillRect t="-17000" b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FFD127A7-962D-42AA-95EE-BE7697DE2E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638" y="2333233"/>
            <a:ext cx="10623550" cy="1861077"/>
          </a:xfrm>
        </p:spPr>
        <p:txBody>
          <a:bodyPr anchor="ctr" anchorCtr="0"/>
          <a:lstStyle>
            <a:lvl1pPr algn="ctr">
              <a:lnSpc>
                <a:spcPct val="90000"/>
              </a:lnSpc>
              <a:defRPr sz="6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 on </a:t>
            </a:r>
            <a:br>
              <a:rPr lang="en-US" dirty="0"/>
            </a:br>
            <a:r>
              <a:rPr lang="en-US" dirty="0"/>
              <a:t>max two rows</a:t>
            </a:r>
            <a:endParaRPr lang="en-GB" dirty="0"/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D4130A02-9CAF-430B-94BA-0E080566F33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20913" y="4522577"/>
            <a:ext cx="7745412" cy="720000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b="0">
                <a:solidFill>
                  <a:schemeClr val="bg1"/>
                </a:solidFill>
                <a:latin typeface="Swedbank Headline Bold" panose="02000000000000000000" pitchFamily="50" charset="0"/>
              </a:defRPr>
            </a:lvl1pPr>
            <a:lvl2pPr marL="216000" indent="0" algn="ctr">
              <a:buNone/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D85C6594-A61F-4F9B-8E7A-CB490490C7B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058708" y="277629"/>
            <a:ext cx="2851340" cy="612378"/>
          </a:xfrm>
          <a:prstGeom prst="rect">
            <a:avLst/>
          </a:prstGeom>
        </p:spPr>
      </p:pic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image" descr="{&quot;templafy&quot;:{&quot;type&quot;:&quot;image&quot;,&quot;binding&quot;:&quot;Form.InformationClasses.BoxfrontPP&quot;,&quot;inheritDimensions&quot;:&quot;inheritNone&quot;,&quot;width&quot;:&quot;&quot;,&quot;height&quot;:&quot;0.98 cm&quot;,&quot;visibility&quot;:{&quot;action&quot;:&quot;hide&quot;,&quot;compareValue&quot;:&quot;Confidential&quot;,&quot;binding&quot;:&quot;Form.InformationClasses.Term&quot;,&quot;operator&quot;:&quot;notEquals&quot;}}}" title="Form.InformationClasses.BoxfrontPP">
            <a:extLst>
              <a:ext uri="{FF2B5EF4-FFF2-40B4-BE49-F238E27FC236}">
                <a16:creationId xmlns:a16="http://schemas.microsoft.com/office/drawing/2014/main" id="{034CBF5A-0AEB-440A-B77F-B220E4531520}"/>
              </a:ext>
            </a:extLst>
          </p:cNvPr>
          <p:cNvSpPr/>
          <p:nvPr userDrawn="1"/>
        </p:nvSpPr>
        <p:spPr>
          <a:xfrm>
            <a:off x="-2707" y="354123"/>
            <a:ext cx="1839621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rIns="162000" rtlCol="0" anchor="ctr"/>
          <a:lstStyle/>
          <a:p>
            <a:pPr algn="r">
              <a:spcBef>
                <a:spcPts val="600"/>
              </a:spcBef>
            </a:pPr>
            <a:endParaRPr lang="en-GB" sz="1400" noProof="0" dirty="0">
              <a:solidFill>
                <a:schemeClr val="bg2"/>
              </a:solidFill>
            </a:endParaRPr>
          </a:p>
        </p:txBody>
      </p:sp>
      <p:sp>
        <p:nvSpPr>
          <p:cNvPr id="15" name="text" descr="{&quot;templafy&quot;:{&quot;type&quot;:&quot;text&quot;,&quot;binding&quot;:&quot;Form.InformationClasses.TermfrontPP&quot;}}" title="Form.InformationClasses.TermfrontPP">
            <a:extLst>
              <a:ext uri="{FF2B5EF4-FFF2-40B4-BE49-F238E27FC236}">
                <a16:creationId xmlns:a16="http://schemas.microsoft.com/office/drawing/2014/main" id="{056657CC-D20B-497A-9D8F-22EED568B5B4}"/>
              </a:ext>
            </a:extLst>
          </p:cNvPr>
          <p:cNvSpPr/>
          <p:nvPr userDrawn="1"/>
        </p:nvSpPr>
        <p:spPr>
          <a:xfrm>
            <a:off x="-2707" y="354123"/>
            <a:ext cx="1839621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rIns="162000" rtlCol="0" anchor="ctr"/>
          <a:lstStyle/>
          <a:p>
            <a:pPr algn="r">
              <a:spcBef>
                <a:spcPts val="600"/>
              </a:spcBef>
            </a:pPr>
            <a:endParaRPr lang="en-GB" sz="1400" noProof="0" dirty="0">
              <a:solidFill>
                <a:srgbClr val="FF5F00"/>
              </a:solidFill>
              <a:latin typeface="Swedbank Headline Bold" panose="020000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802234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">
    <p:bg>
      <p:bgPr>
        <a:solidFill>
          <a:srgbClr val="FAEF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790575" y="481665"/>
            <a:ext cx="10614026" cy="783144"/>
          </a:xfrm>
        </p:spPr>
        <p:txBody>
          <a:bodyPr/>
          <a:lstStyle>
            <a:lvl1pPr>
              <a:defRPr sz="4800">
                <a:solidFill>
                  <a:srgbClr val="FF5E00"/>
                </a:solidFill>
              </a:defRPr>
            </a:lvl1pPr>
          </a:lstStyle>
          <a:p>
            <a:r>
              <a:rPr lang="en-GB" dirty="0"/>
              <a:t>Click to add Agenda heading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784225" y="1763713"/>
            <a:ext cx="10620375" cy="4175125"/>
          </a:xfrm>
        </p:spPr>
        <p:txBody>
          <a:bodyPr numCol="2" spcCol="360000"/>
          <a:lstStyle>
            <a:lvl1pPr marL="457200" indent="-457200">
              <a:spcBef>
                <a:spcPts val="600"/>
              </a:spcBef>
              <a:buClr>
                <a:schemeClr val="accent1"/>
              </a:buClr>
              <a:buSzPct val="100000"/>
              <a:buFont typeface="+mj-lt"/>
              <a:buAutoNum type="arabicPeriod"/>
              <a:defRPr sz="3200" b="0">
                <a:solidFill>
                  <a:srgbClr val="FF5E00"/>
                </a:solidFill>
                <a:latin typeface="Swedbank Headline Bold" panose="02000000000000000000" pitchFamily="50" charset="0"/>
              </a:defRPr>
            </a:lvl1pPr>
            <a:lvl2pPr marL="817200" indent="-360000">
              <a:spcBef>
                <a:spcPts val="6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●"/>
              <a:defRPr sz="2400">
                <a:solidFill>
                  <a:schemeClr val="tx2"/>
                </a:solidFill>
                <a:latin typeface="Swedbank Headline Bold" panose="02000000000000000000" pitchFamily="50" charset="0"/>
              </a:defRPr>
            </a:lvl2pPr>
            <a:lvl3pPr marL="1177200" indent="-360000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−"/>
              <a:defRPr sz="1800">
                <a:solidFill>
                  <a:schemeClr val="tx2"/>
                </a:solidFill>
                <a:latin typeface="Swedbank Headline Bold" panose="02000000000000000000" pitchFamily="50" charset="0"/>
              </a:defRPr>
            </a:lvl3pPr>
            <a:lvl4pPr marL="1177200" indent="-360000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−"/>
              <a:defRPr sz="1800"/>
            </a:lvl4pPr>
            <a:lvl5pPr marL="1177200" indent="-360000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−"/>
              <a:defRPr sz="1800"/>
            </a:lvl5pPr>
            <a:lvl6pPr marL="1177200" indent="-360000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−"/>
              <a:defRPr sz="1800"/>
            </a:lvl6pPr>
            <a:lvl7pPr marL="1177200" indent="-360000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−"/>
              <a:defRPr sz="1800"/>
            </a:lvl7pPr>
            <a:lvl8pPr marL="1177200" indent="-360000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−"/>
              <a:defRPr sz="1800"/>
            </a:lvl8pPr>
            <a:lvl9pPr marL="1177200" indent="-360000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−"/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endParaRPr lang="en-GB" dirty="0"/>
          </a:p>
        </p:txBody>
      </p:sp>
      <p:sp>
        <p:nvSpPr>
          <p:cNvPr id="3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4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6643912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, back- ground o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6154" cy="6858000"/>
          </a:xfrm>
          <a:solidFill>
            <a:srgbClr val="FF5F00"/>
          </a:solidFill>
        </p:spPr>
        <p:txBody>
          <a:bodyPr tIns="36000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Add an image: Click here, insert image via Templafy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2F3AD31-345D-4109-B287-41595577EC9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782638" y="1763713"/>
            <a:ext cx="10621962" cy="2546858"/>
          </a:xfrm>
          <a:noFill/>
        </p:spPr>
        <p:txBody>
          <a:bodyPr lIns="0" tIns="0" rIns="0" bIns="0" anchor="ctr" anchorCtr="0"/>
          <a:lstStyle>
            <a:lvl1pPr algn="ctr" defTabSz="914400" rtl="0" eaLnBrk="1" latinLnBrk="0" hangingPunct="1">
              <a:lnSpc>
                <a:spcPts val="6800"/>
              </a:lnSpc>
              <a:spcBef>
                <a:spcPct val="0"/>
              </a:spcBef>
              <a:buNone/>
              <a:defRPr lang="en-GB" sz="66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Add chapter heading or big messag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5B913179-DE9C-4BE7-A9F7-5D3728C648B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2220912" y="4724087"/>
            <a:ext cx="7745414" cy="854599"/>
          </a:xfrm>
        </p:spPr>
        <p:txBody>
          <a:bodyPr anchor="t" anchorCtr="0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Char char="​"/>
              <a:defRPr sz="2400" baseline="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Insert introduction text</a:t>
            </a:r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6636385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hapter, on background">
    <p:bg>
      <p:bgPr>
        <a:solidFill>
          <a:srgbClr val="FF91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9313D3A0-5532-4D95-A52A-0EA452D20CC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82638" y="1763713"/>
            <a:ext cx="10621962" cy="2546858"/>
          </a:xfrm>
          <a:noFill/>
        </p:spPr>
        <p:txBody>
          <a:bodyPr lIns="0" tIns="0" rIns="0" bIns="0" anchor="ctr" anchorCtr="0"/>
          <a:lstStyle>
            <a:lvl1pPr algn="ctr" defTabSz="914400" rtl="0" eaLnBrk="1" latinLnBrk="0" hangingPunct="1">
              <a:lnSpc>
                <a:spcPts val="6800"/>
              </a:lnSpc>
              <a:spcBef>
                <a:spcPct val="0"/>
              </a:spcBef>
              <a:buNone/>
              <a:defRPr lang="en-GB" sz="66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Add chapter heading or big messag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220914" y="4724087"/>
            <a:ext cx="7745412" cy="854599"/>
          </a:xfrm>
        </p:spPr>
        <p:txBody>
          <a:bodyPr anchor="t" anchorCtr="0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Char char="​"/>
              <a:defRPr sz="2400" baseline="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Insert introduction text</a:t>
            </a:r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231306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hapter, on background">
    <p:bg>
      <p:bgPr>
        <a:solidFill>
          <a:srgbClr val="FDC9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265D7EB4-EF2C-4D4B-BBFA-AD63140C37A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82638" y="1763713"/>
            <a:ext cx="10621962" cy="2546858"/>
          </a:xfrm>
          <a:noFill/>
        </p:spPr>
        <p:txBody>
          <a:bodyPr lIns="0" tIns="0" rIns="0" bIns="0" anchor="ctr" anchorCtr="0"/>
          <a:lstStyle>
            <a:lvl1pPr algn="ctr" defTabSz="914400" rtl="0" eaLnBrk="1" latinLnBrk="0" hangingPunct="1">
              <a:lnSpc>
                <a:spcPts val="6800"/>
              </a:lnSpc>
              <a:spcBef>
                <a:spcPct val="0"/>
              </a:spcBef>
              <a:buNone/>
              <a:defRPr lang="en-GB" sz="66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Add chapter heading or big messag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220914" y="4724087"/>
            <a:ext cx="7745412" cy="854599"/>
          </a:xfrm>
        </p:spPr>
        <p:txBody>
          <a:bodyPr anchor="t" anchorCtr="0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Char char="​"/>
              <a:defRPr sz="2400" baseline="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Insert introduction text</a:t>
            </a:r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3419759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hapter, orange box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6154" cy="6858000"/>
          </a:xfrm>
          <a:noFill/>
        </p:spPr>
        <p:txBody>
          <a:bodyPr tIns="36000"/>
          <a:lstStyle>
            <a:lvl1pPr marL="0" indent="0" algn="ctr">
              <a:buNone/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Add an image: Click here, insert image via Templafy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0701E18-0200-4F32-AFFB-E0C8B392576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618422" y="1969630"/>
            <a:ext cx="8955156" cy="2918740"/>
          </a:xfrm>
          <a:solidFill>
            <a:srgbClr val="FF5E00"/>
          </a:solidFill>
        </p:spPr>
        <p:txBody>
          <a:bodyPr lIns="540000" tIns="540000" rIns="540000" bIns="540000" anchor="ctr" anchorCtr="0">
            <a:spAutoFit/>
          </a:bodyPr>
          <a:lstStyle>
            <a:lvl1pPr algn="ctr">
              <a:lnSpc>
                <a:spcPct val="90000"/>
              </a:lnSpc>
              <a:defRPr sz="6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chapter heading</a:t>
            </a:r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3267567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Chapter, oak shape &amp; image">
    <p:bg>
      <p:bgPr>
        <a:solidFill>
          <a:srgbClr val="FF5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FAA22785-9C30-4059-8314-892CF398437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58000"/>
          </a:xfrm>
          <a:custGeom>
            <a:avLst/>
            <a:gdLst>
              <a:gd name="connsiteX0" fmla="*/ 0 w 12193200"/>
              <a:gd name="connsiteY0" fmla="*/ 0 h 6858000"/>
              <a:gd name="connsiteX1" fmla="*/ 12193200 w 12193200"/>
              <a:gd name="connsiteY1" fmla="*/ 0 h 6858000"/>
              <a:gd name="connsiteX2" fmla="*/ 12193200 w 12193200"/>
              <a:gd name="connsiteY2" fmla="*/ 1472513 h 6858000"/>
              <a:gd name="connsiteX3" fmla="*/ 10408845 w 12193200"/>
              <a:gd name="connsiteY3" fmla="*/ 1765643 h 6858000"/>
              <a:gd name="connsiteX4" fmla="*/ 9353613 w 12193200"/>
              <a:gd name="connsiteY4" fmla="*/ 1368167 h 6858000"/>
              <a:gd name="connsiteX5" fmla="*/ 7641347 w 12193200"/>
              <a:gd name="connsiteY5" fmla="*/ 2113692 h 6858000"/>
              <a:gd name="connsiteX6" fmla="*/ 6964405 w 12193200"/>
              <a:gd name="connsiteY6" fmla="*/ 2799492 h 6858000"/>
              <a:gd name="connsiteX7" fmla="*/ 6019020 w 12193200"/>
              <a:gd name="connsiteY7" fmla="*/ 2829011 h 6858000"/>
              <a:gd name="connsiteX8" fmla="*/ 5072261 w 12193200"/>
              <a:gd name="connsiteY8" fmla="*/ 4250724 h 6858000"/>
              <a:gd name="connsiteX9" fmla="*/ 3491128 w 12193200"/>
              <a:gd name="connsiteY9" fmla="*/ 4727146 h 6858000"/>
              <a:gd name="connsiteX10" fmla="*/ 2777798 w 12193200"/>
              <a:gd name="connsiteY10" fmla="*/ 5878384 h 6858000"/>
              <a:gd name="connsiteX11" fmla="*/ 2314374 w 12193200"/>
              <a:gd name="connsiteY11" fmla="*/ 5864654 h 6858000"/>
              <a:gd name="connsiteX12" fmla="*/ 1700595 w 12193200"/>
              <a:gd name="connsiteY12" fmla="*/ 5570152 h 6858000"/>
              <a:gd name="connsiteX13" fmla="*/ 737360 w 12193200"/>
              <a:gd name="connsiteY13" fmla="*/ 6560752 h 6858000"/>
              <a:gd name="connsiteX14" fmla="*/ 0 w 12193200"/>
              <a:gd name="connsiteY1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93200" h="6858000">
                <a:moveTo>
                  <a:pt x="0" y="0"/>
                </a:moveTo>
                <a:lnTo>
                  <a:pt x="12193200" y="0"/>
                </a:lnTo>
                <a:lnTo>
                  <a:pt x="12193200" y="1472513"/>
                </a:lnTo>
                <a:cubicBezTo>
                  <a:pt x="10975939" y="1367481"/>
                  <a:pt x="11224473" y="1964038"/>
                  <a:pt x="10408845" y="1765643"/>
                </a:cubicBezTo>
                <a:cubicBezTo>
                  <a:pt x="9864409" y="1633151"/>
                  <a:pt x="10110195" y="1397686"/>
                  <a:pt x="9353613" y="1368167"/>
                </a:cubicBezTo>
                <a:cubicBezTo>
                  <a:pt x="8288081" y="1326292"/>
                  <a:pt x="8756311" y="2163805"/>
                  <a:pt x="7641347" y="2113692"/>
                </a:cubicBezTo>
                <a:cubicBezTo>
                  <a:pt x="7187535" y="2093784"/>
                  <a:pt x="7382517" y="2621005"/>
                  <a:pt x="6964405" y="2799492"/>
                </a:cubicBezTo>
                <a:cubicBezTo>
                  <a:pt x="6656142" y="2931297"/>
                  <a:pt x="6290895" y="2740454"/>
                  <a:pt x="6019020" y="2829011"/>
                </a:cubicBezTo>
                <a:cubicBezTo>
                  <a:pt x="4974085" y="3170194"/>
                  <a:pt x="5589923" y="3870411"/>
                  <a:pt x="5072261" y="4250724"/>
                </a:cubicBezTo>
                <a:cubicBezTo>
                  <a:pt x="4139922" y="4935838"/>
                  <a:pt x="4541555" y="4291227"/>
                  <a:pt x="3491128" y="4727146"/>
                </a:cubicBezTo>
                <a:cubicBezTo>
                  <a:pt x="2988570" y="4935151"/>
                  <a:pt x="2777798" y="5878384"/>
                  <a:pt x="2777798" y="5878384"/>
                </a:cubicBezTo>
                <a:cubicBezTo>
                  <a:pt x="2777798" y="5878384"/>
                  <a:pt x="2370672" y="5957330"/>
                  <a:pt x="2314374" y="5864654"/>
                </a:cubicBezTo>
                <a:cubicBezTo>
                  <a:pt x="2212764" y="5697838"/>
                  <a:pt x="2144108" y="5556422"/>
                  <a:pt x="1700595" y="5570152"/>
                </a:cubicBezTo>
                <a:cubicBezTo>
                  <a:pt x="1275618" y="5583195"/>
                  <a:pt x="1041503" y="6123460"/>
                  <a:pt x="737360" y="6560752"/>
                </a:cubicBezTo>
                <a:cubicBezTo>
                  <a:pt x="628197" y="6716584"/>
                  <a:pt x="221757" y="6621162"/>
                  <a:pt x="0" y="685800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tIns="36000">
            <a:noAutofit/>
          </a:bodyPr>
          <a:lstStyle>
            <a:lvl1pPr marL="0" indent="0" algn="ctr">
              <a:buNone/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Add an image: Click here, insert image via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291263" y="4002848"/>
            <a:ext cx="5152901" cy="1329595"/>
          </a:xfrm>
          <a:noFill/>
        </p:spPr>
        <p:txBody>
          <a:bodyPr wrap="square" lIns="0" tIns="0" rIns="0" bIns="0" anchor="ctr" anchorCtr="0">
            <a:spAutoFit/>
          </a:bodyPr>
          <a:lstStyle>
            <a:lvl1pPr algn="l">
              <a:lnSpc>
                <a:spcPct val="90000"/>
              </a:lnSpc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chapter heading</a:t>
            </a:r>
          </a:p>
        </p:txBody>
      </p:sp>
      <p:sp>
        <p:nvSpPr>
          <p:cNvPr id="8" name="Text Placeholder 20">
            <a:extLst>
              <a:ext uri="{FF2B5EF4-FFF2-40B4-BE49-F238E27FC236}">
                <a16:creationId xmlns:a16="http://schemas.microsoft.com/office/drawing/2014/main" id="{D21585C6-5E47-4744-B88D-E91601F551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91263" y="5581810"/>
            <a:ext cx="5114925" cy="76929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b="0">
                <a:solidFill>
                  <a:schemeClr val="bg1"/>
                </a:solidFill>
              </a:defRPr>
            </a:lvl1pPr>
            <a:lvl2pPr marL="216000" indent="0" algn="ctr">
              <a:buNone/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r>
              <a:rPr lang="en-GB" dirty="0"/>
              <a:t>Insert introduction text</a:t>
            </a:r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1910234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g message, textbox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">
            <a:extLst>
              <a:ext uri="{FF2B5EF4-FFF2-40B4-BE49-F238E27FC236}">
                <a16:creationId xmlns:a16="http://schemas.microsoft.com/office/drawing/2014/main" id="{0758CA1E-A7C6-4199-9C43-B3326643056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6154" cy="6858000"/>
          </a:xfrm>
          <a:noFill/>
        </p:spPr>
        <p:txBody>
          <a:bodyPr tIns="36000"/>
          <a:lstStyle>
            <a:lvl1pPr marL="0" indent="0" algn="ctr">
              <a:buNone/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Add an image: Click here, insert image via Templafy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A438773E-D526-4B9C-A162-7E855E7E8F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851524" y="1226343"/>
            <a:ext cx="8488952" cy="4405313"/>
          </a:xfrm>
          <a:solidFill>
            <a:srgbClr val="FF5E00"/>
          </a:solidFill>
        </p:spPr>
        <p:txBody>
          <a:bodyPr lIns="720000" tIns="540000" rIns="720000" bIns="540000"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a longer message or a quote</a:t>
            </a:r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0848604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ig message on colour">
    <p:bg>
      <p:bgPr>
        <a:solidFill>
          <a:srgbClr val="FF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9A497D09-A345-4966-AD3C-EA9ECA1C60B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82638" y="1763713"/>
            <a:ext cx="10623550" cy="2546858"/>
          </a:xfrm>
          <a:noFill/>
        </p:spPr>
        <p:txBody>
          <a:bodyPr lIns="0" tIns="0" rIns="0" bIns="0" anchor="ctr" anchorCtr="0"/>
          <a:lstStyle>
            <a:lvl1pPr algn="ctr" defTabSz="914400" rtl="0" eaLnBrk="1" latinLnBrk="0" hangingPunct="1">
              <a:lnSpc>
                <a:spcPts val="6800"/>
              </a:lnSpc>
              <a:spcBef>
                <a:spcPct val="0"/>
              </a:spcBef>
              <a:buNone/>
              <a:defRPr lang="en-GB" sz="6600" b="1" kern="1200" dirty="0">
                <a:solidFill>
                  <a:srgbClr val="FF5F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Add chapter heading or big messag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220914" y="4724087"/>
            <a:ext cx="7745412" cy="854599"/>
          </a:xfrm>
        </p:spPr>
        <p:txBody>
          <a:bodyPr anchor="t" anchorCtr="0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Char char="​"/>
              <a:defRPr sz="2400" baseline="0">
                <a:solidFill>
                  <a:schemeClr val="tx2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Insert introduction text</a:t>
            </a:r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6754473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ig message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6154" cy="6858000"/>
          </a:xfrm>
          <a:blipFill>
            <a:blip r:embed="rId2"/>
            <a:stretch>
              <a:fillRect t="1" r="-2374" b="1"/>
            </a:stretch>
          </a:blipFill>
        </p:spPr>
        <p:txBody>
          <a:bodyPr tIns="36000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hange image: Click here, insert image via Templafy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A438773E-D526-4B9C-A162-7E855E7E8F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1851524" y="1226343"/>
            <a:ext cx="8488952" cy="4405313"/>
          </a:xfrm>
          <a:noFill/>
        </p:spPr>
        <p:txBody>
          <a:bodyPr lIns="0" tIns="0" rIns="0" bIns="0"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a longer </a:t>
            </a:r>
            <a:br>
              <a:rPr lang="en-GB" dirty="0"/>
            </a:br>
            <a:r>
              <a:rPr lang="en-GB" dirty="0"/>
              <a:t>message or a quot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186313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">
    <p:bg>
      <p:bgPr>
        <a:solidFill>
          <a:srgbClr val="FAEF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790575" y="481665"/>
            <a:ext cx="10614026" cy="783144"/>
          </a:xfrm>
        </p:spPr>
        <p:txBody>
          <a:bodyPr/>
          <a:lstStyle>
            <a:lvl1pPr>
              <a:defRPr sz="4800">
                <a:solidFill>
                  <a:srgbClr val="FF5E00"/>
                </a:solidFill>
              </a:defRPr>
            </a:lvl1pPr>
          </a:lstStyle>
          <a:p>
            <a:r>
              <a:rPr lang="en-GB" dirty="0"/>
              <a:t>Click to add Agenda heading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784225" y="1763713"/>
            <a:ext cx="10620375" cy="4175125"/>
          </a:xfrm>
        </p:spPr>
        <p:txBody>
          <a:bodyPr numCol="2" spcCol="360000"/>
          <a:lstStyle>
            <a:lvl1pPr marL="457200" indent="-457200">
              <a:spcBef>
                <a:spcPts val="600"/>
              </a:spcBef>
              <a:buClr>
                <a:schemeClr val="accent1"/>
              </a:buClr>
              <a:buSzPct val="100000"/>
              <a:buFont typeface="+mj-lt"/>
              <a:buAutoNum type="arabicPeriod"/>
              <a:defRPr sz="3200" b="0">
                <a:solidFill>
                  <a:srgbClr val="FF5E00"/>
                </a:solidFill>
                <a:latin typeface="Swedbank Headline Bold" panose="02000000000000000000" pitchFamily="50" charset="0"/>
              </a:defRPr>
            </a:lvl1pPr>
            <a:lvl2pPr marL="817200" indent="-360000">
              <a:spcBef>
                <a:spcPts val="6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●"/>
              <a:defRPr sz="2400">
                <a:solidFill>
                  <a:schemeClr val="tx2"/>
                </a:solidFill>
                <a:latin typeface="Swedbank Headline Bold" panose="02000000000000000000" pitchFamily="50" charset="0"/>
              </a:defRPr>
            </a:lvl2pPr>
            <a:lvl3pPr marL="1177200" indent="-360000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−"/>
              <a:defRPr sz="1800">
                <a:solidFill>
                  <a:schemeClr val="tx2"/>
                </a:solidFill>
                <a:latin typeface="Swedbank Headline Bold" panose="02000000000000000000" pitchFamily="50" charset="0"/>
              </a:defRPr>
            </a:lvl3pPr>
            <a:lvl4pPr marL="1177200" indent="-360000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−"/>
              <a:defRPr sz="1800"/>
            </a:lvl4pPr>
            <a:lvl5pPr marL="1177200" indent="-360000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−"/>
              <a:defRPr sz="1800"/>
            </a:lvl5pPr>
            <a:lvl6pPr marL="1177200" indent="-360000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−"/>
              <a:defRPr sz="1800"/>
            </a:lvl6pPr>
            <a:lvl7pPr marL="1177200" indent="-360000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−"/>
              <a:defRPr sz="1800"/>
            </a:lvl7pPr>
            <a:lvl8pPr marL="1177200" indent="-360000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−"/>
              <a:defRPr sz="1800"/>
            </a:lvl8pPr>
            <a:lvl9pPr marL="1177200" indent="-360000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−"/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endParaRPr lang="en-GB" dirty="0"/>
          </a:p>
        </p:txBody>
      </p:sp>
      <p:sp>
        <p:nvSpPr>
          <p:cNvPr id="3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4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1777025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Content -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4224" y="481665"/>
            <a:ext cx="10620375" cy="1052240"/>
          </a:xfrm>
        </p:spPr>
        <p:txBody>
          <a:bodyPr/>
          <a:lstStyle>
            <a:lvl1pPr>
              <a:lnSpc>
                <a:spcPct val="90000"/>
              </a:lnSpc>
              <a:defRPr baseline="0"/>
            </a:lvl1pPr>
          </a:lstStyle>
          <a:p>
            <a:r>
              <a:rPr lang="en-GB" noProof="0" dirty="0"/>
              <a:t>Click to add heading on maximum two row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84224" y="1763713"/>
            <a:ext cx="10621963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en-GB" noProof="0" smtClean="0"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99163843"/>
      </p:ext>
    </p:extLst>
  </p:cSld>
  <p:clrMapOvr>
    <a:masterClrMapping/>
  </p:clrMapOvr>
  <p:hf hdr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Content - one column">
    <p:bg>
      <p:bgPr>
        <a:solidFill>
          <a:srgbClr val="FAEF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4224" y="481665"/>
            <a:ext cx="10620375" cy="1052240"/>
          </a:xfrm>
        </p:spPr>
        <p:txBody>
          <a:bodyPr/>
          <a:lstStyle>
            <a:lvl1pPr>
              <a:lnSpc>
                <a:spcPct val="90000"/>
              </a:lnSpc>
              <a:defRPr baseline="0"/>
            </a:lvl1pPr>
          </a:lstStyle>
          <a:p>
            <a:r>
              <a:rPr lang="en-GB" noProof="0" dirty="0"/>
              <a:t>Click to add heading on maximum two row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84226" y="1763713"/>
            <a:ext cx="10621962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en-GB" noProof="0" smtClean="0"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803729923"/>
      </p:ext>
    </p:extLst>
  </p:cSld>
  <p:clrMapOvr>
    <a:masterClrMapping/>
  </p:clrMapOvr>
  <p:hf hdr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Content - one column">
    <p:bg>
      <p:bgPr>
        <a:solidFill>
          <a:srgbClr val="FF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4224" y="481665"/>
            <a:ext cx="10620375" cy="1052240"/>
          </a:xfrm>
        </p:spPr>
        <p:txBody>
          <a:bodyPr/>
          <a:lstStyle>
            <a:lvl1pPr>
              <a:lnSpc>
                <a:spcPct val="90000"/>
              </a:lnSpc>
              <a:defRPr baseline="0"/>
            </a:lvl1pPr>
          </a:lstStyle>
          <a:p>
            <a:r>
              <a:rPr lang="en-GB" noProof="0" dirty="0"/>
              <a:t>Click to add heading on maximum two row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84226" y="1763713"/>
            <a:ext cx="10621962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en-GB" noProof="0" smtClean="0"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67346209"/>
      </p:ext>
    </p:extLst>
  </p:cSld>
  <p:clrMapOvr>
    <a:masterClrMapping/>
  </p:clrMapOvr>
  <p:hf hdr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Content - one column">
    <p:bg>
      <p:bgPr>
        <a:solidFill>
          <a:srgbClr val="EBF9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4224" y="481665"/>
            <a:ext cx="10620375" cy="1052240"/>
          </a:xfrm>
        </p:spPr>
        <p:txBody>
          <a:bodyPr/>
          <a:lstStyle>
            <a:lvl1pPr>
              <a:lnSpc>
                <a:spcPct val="90000"/>
              </a:lnSpc>
              <a:defRPr baseline="0"/>
            </a:lvl1pPr>
          </a:lstStyle>
          <a:p>
            <a:r>
              <a:rPr lang="en-GB" noProof="0" dirty="0"/>
              <a:t>Click to add heading on maximum two row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84226" y="1763713"/>
            <a:ext cx="10621962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en-GB" noProof="0" smtClean="0"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29655744"/>
      </p:ext>
    </p:extLst>
  </p:cSld>
  <p:clrMapOvr>
    <a:masterClrMapping/>
  </p:clrMapOvr>
  <p:hf hdr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 -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4224" y="481665"/>
            <a:ext cx="10620375" cy="1052240"/>
          </a:xfrm>
        </p:spPr>
        <p:txBody>
          <a:bodyPr/>
          <a:lstStyle>
            <a:lvl1pPr>
              <a:lnSpc>
                <a:spcPct val="90000"/>
              </a:lnSpc>
              <a:defRPr baseline="0"/>
            </a:lvl1pPr>
          </a:lstStyle>
          <a:p>
            <a:r>
              <a:rPr lang="en-GB" noProof="0" dirty="0"/>
              <a:t>Click to add heading on maximum two rows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787399" y="1013791"/>
            <a:ext cx="9178925" cy="516835"/>
          </a:xfrm>
        </p:spPr>
        <p:txBody>
          <a:bodyPr/>
          <a:lstStyle>
            <a:lvl1pPr marL="0" indent="0" algn="l">
              <a:buNone/>
              <a:defRPr sz="2400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 heading on maximum one row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84224" y="1763713"/>
            <a:ext cx="10621963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en-GB" noProof="0" smtClean="0"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741769418"/>
      </p:ext>
    </p:extLst>
  </p:cSld>
  <p:clrMapOvr>
    <a:masterClrMapping/>
  </p:clrMapOvr>
  <p:hf hdr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 -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>
            <a:extLst>
              <a:ext uri="{FF2B5EF4-FFF2-40B4-BE49-F238E27FC236}">
                <a16:creationId xmlns:a16="http://schemas.microsoft.com/office/drawing/2014/main" id="{40BA2930-8025-4C2C-B4B4-60F0A01ACCCB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787399" y="482162"/>
            <a:ext cx="9178925" cy="516835"/>
          </a:xfrm>
        </p:spPr>
        <p:txBody>
          <a:bodyPr/>
          <a:lstStyle>
            <a:lvl1pPr marL="0" indent="0" algn="l">
              <a:buNone/>
              <a:defRPr sz="2400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 heading on maximum one row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4224" y="998997"/>
            <a:ext cx="10620375" cy="534907"/>
          </a:xfrm>
        </p:spPr>
        <p:txBody>
          <a:bodyPr/>
          <a:lstStyle>
            <a:lvl1pPr>
              <a:lnSpc>
                <a:spcPct val="90000"/>
              </a:lnSpc>
              <a:defRPr baseline="0"/>
            </a:lvl1pPr>
          </a:lstStyle>
          <a:p>
            <a:r>
              <a:rPr lang="en-GB" noProof="0" dirty="0"/>
              <a:t>Click to add heading on maximum one row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84224" y="1763713"/>
            <a:ext cx="10621963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en-GB" noProof="0" smtClean="0"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393326562"/>
      </p:ext>
    </p:extLst>
  </p:cSld>
  <p:clrMapOvr>
    <a:masterClrMapping/>
  </p:clrMapOvr>
  <p:hf hdr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Content -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GB" noProof="0" dirty="0"/>
              <a:t>Click to add heading on maximum two row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84225" y="1763713"/>
            <a:ext cx="6948487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127999" y="1763713"/>
            <a:ext cx="3276601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397620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Content -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GB" noProof="0" dirty="0"/>
              <a:t>Click to add heading on maximum two row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84226" y="1763713"/>
            <a:ext cx="5111750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91263" y="1763713"/>
            <a:ext cx="5113338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76758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_Content - two columns">
    <p:bg>
      <p:bgPr>
        <a:solidFill>
          <a:srgbClr val="FAEF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GB" noProof="0" dirty="0"/>
              <a:t>Click to add heading on maximum two row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84226" y="1763713"/>
            <a:ext cx="5111750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91263" y="1763713"/>
            <a:ext cx="5113338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650890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4_Content - two columns">
    <p:bg>
      <p:bgPr>
        <a:solidFill>
          <a:srgbClr val="FF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GB" noProof="0" dirty="0"/>
              <a:t>Click to add heading on maximum two row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84226" y="1763713"/>
            <a:ext cx="5111750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91263" y="1763713"/>
            <a:ext cx="5113338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582440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, back- ground o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6154" cy="6858000"/>
          </a:xfrm>
          <a:solidFill>
            <a:srgbClr val="FF5F00"/>
          </a:solidFill>
        </p:spPr>
        <p:txBody>
          <a:bodyPr tIns="36000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Add an image: Click here, insert image via Templafy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2F3AD31-345D-4109-B287-41595577EC9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782638" y="1763713"/>
            <a:ext cx="10621962" cy="2546858"/>
          </a:xfrm>
          <a:noFill/>
        </p:spPr>
        <p:txBody>
          <a:bodyPr lIns="0" tIns="0" rIns="0" bIns="0" anchor="ctr" anchorCtr="0"/>
          <a:lstStyle>
            <a:lvl1pPr algn="ctr" defTabSz="914400" rtl="0" eaLnBrk="1" latinLnBrk="0" hangingPunct="1">
              <a:lnSpc>
                <a:spcPts val="6800"/>
              </a:lnSpc>
              <a:spcBef>
                <a:spcPct val="0"/>
              </a:spcBef>
              <a:buNone/>
              <a:defRPr lang="en-GB" sz="66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Add chapter heading or big messag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5B913179-DE9C-4BE7-A9F7-5D3728C648B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2220912" y="4724087"/>
            <a:ext cx="7745414" cy="854599"/>
          </a:xfrm>
        </p:spPr>
        <p:txBody>
          <a:bodyPr anchor="t" anchorCtr="0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Char char="​"/>
              <a:defRPr sz="2400" baseline="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Insert introduction text</a:t>
            </a:r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6993726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5_Content - two columns">
    <p:bg>
      <p:bgPr>
        <a:solidFill>
          <a:srgbClr val="EBF9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GB" noProof="0" dirty="0"/>
              <a:t>Click to add heading on maximum two row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84226" y="1763713"/>
            <a:ext cx="5111750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91263" y="1763713"/>
            <a:ext cx="5113338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5796534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 - two columns">
    <p:bg>
      <p:bgPr>
        <a:solidFill>
          <a:srgbClr val="FAEF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739EB4BE-1358-4A58-A92F-2C27D7EAB55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685247" y="669602"/>
            <a:ext cx="6507953" cy="6188397"/>
          </a:xfrm>
          <a:custGeom>
            <a:avLst/>
            <a:gdLst>
              <a:gd name="connsiteX0" fmla="*/ 5976385 w 6507953"/>
              <a:gd name="connsiteY0" fmla="*/ 0 h 6188397"/>
              <a:gd name="connsiteX1" fmla="*/ 6507953 w 6507953"/>
              <a:gd name="connsiteY1" fmla="*/ 71964 h 6188397"/>
              <a:gd name="connsiteX2" fmla="*/ 6507953 w 6507953"/>
              <a:gd name="connsiteY2" fmla="*/ 6188397 h 6188397"/>
              <a:gd name="connsiteX3" fmla="*/ 0 w 6507953"/>
              <a:gd name="connsiteY3" fmla="*/ 6188397 h 6188397"/>
              <a:gd name="connsiteX4" fmla="*/ 81396 w 6507953"/>
              <a:gd name="connsiteY4" fmla="*/ 6094197 h 6188397"/>
              <a:gd name="connsiteX5" fmla="*/ 450649 w 6507953"/>
              <a:gd name="connsiteY5" fmla="*/ 4839242 h 6188397"/>
              <a:gd name="connsiteX6" fmla="*/ 944112 w 6507953"/>
              <a:gd name="connsiteY6" fmla="*/ 2677453 h 6188397"/>
              <a:gd name="connsiteX7" fmla="*/ 2415927 w 6507953"/>
              <a:gd name="connsiteY7" fmla="*/ 1921114 h 6188397"/>
              <a:gd name="connsiteX8" fmla="*/ 3628626 w 6507953"/>
              <a:gd name="connsiteY8" fmla="*/ 557128 h 6188397"/>
              <a:gd name="connsiteX9" fmla="*/ 4675091 w 6507953"/>
              <a:gd name="connsiteY9" fmla="*/ 530439 h 6188397"/>
              <a:gd name="connsiteX10" fmla="*/ 5976385 w 6507953"/>
              <a:gd name="connsiteY10" fmla="*/ 0 h 61883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507953" h="6188397">
                <a:moveTo>
                  <a:pt x="5976385" y="0"/>
                </a:moveTo>
                <a:cubicBezTo>
                  <a:pt x="6173580" y="0"/>
                  <a:pt x="6347435" y="30501"/>
                  <a:pt x="6507953" y="71964"/>
                </a:cubicBezTo>
                <a:lnTo>
                  <a:pt x="6507953" y="6188397"/>
                </a:lnTo>
                <a:lnTo>
                  <a:pt x="0" y="6188397"/>
                </a:lnTo>
                <a:lnTo>
                  <a:pt x="81396" y="6094197"/>
                </a:lnTo>
                <a:cubicBezTo>
                  <a:pt x="451738" y="5616923"/>
                  <a:pt x="27324" y="5360656"/>
                  <a:pt x="450649" y="4839242"/>
                </a:cubicBezTo>
                <a:cubicBezTo>
                  <a:pt x="919344" y="4262098"/>
                  <a:pt x="394444" y="3377557"/>
                  <a:pt x="944112" y="2677453"/>
                </a:cubicBezTo>
                <a:cubicBezTo>
                  <a:pt x="1484254" y="1989742"/>
                  <a:pt x="1470917" y="2519227"/>
                  <a:pt x="2415927" y="1921114"/>
                </a:cubicBezTo>
                <a:cubicBezTo>
                  <a:pt x="3127542" y="1470264"/>
                  <a:pt x="2353530" y="835930"/>
                  <a:pt x="3628626" y="557128"/>
                </a:cubicBezTo>
                <a:cubicBezTo>
                  <a:pt x="4098273" y="454662"/>
                  <a:pt x="4275939" y="634811"/>
                  <a:pt x="4675091" y="530439"/>
                </a:cubicBezTo>
                <a:cubicBezTo>
                  <a:pt x="5240001" y="383174"/>
                  <a:pt x="5359080" y="0"/>
                  <a:pt x="597638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lIns="3528000" tIns="1080000" rIns="180000" anchor="t" anchorCtr="0">
            <a:noAutofit/>
          </a:bodyPr>
          <a:lstStyle>
            <a:lvl1pPr marL="0" indent="0" algn="r">
              <a:buNone/>
              <a:defRPr sz="2400"/>
            </a:lvl1pPr>
          </a:lstStyle>
          <a:p>
            <a:r>
              <a:rPr lang="en-GB" dirty="0"/>
              <a:t>Add an image: Click here, insert image via Templafy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784225" y="481665"/>
            <a:ext cx="7860045" cy="105224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GB" noProof="0" dirty="0"/>
              <a:t>Click to add heading on maximum two row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 userDrawn="1">
            <p:ph sz="half" idx="1" hasCustomPrompt="1"/>
          </p:nvPr>
        </p:nvSpPr>
        <p:spPr>
          <a:xfrm>
            <a:off x="784226" y="1763713"/>
            <a:ext cx="5111750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_DateCustomA"/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LD_PresentationTitle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8605093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ntent - two columns">
    <p:bg>
      <p:bgPr>
        <a:solidFill>
          <a:srgbClr val="FF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739EB4BE-1358-4A58-A92F-2C27D7EAB55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685247" y="669602"/>
            <a:ext cx="6507953" cy="6188397"/>
          </a:xfrm>
          <a:custGeom>
            <a:avLst/>
            <a:gdLst>
              <a:gd name="connsiteX0" fmla="*/ 5976385 w 6507953"/>
              <a:gd name="connsiteY0" fmla="*/ 0 h 6188397"/>
              <a:gd name="connsiteX1" fmla="*/ 6507953 w 6507953"/>
              <a:gd name="connsiteY1" fmla="*/ 71964 h 6188397"/>
              <a:gd name="connsiteX2" fmla="*/ 6507953 w 6507953"/>
              <a:gd name="connsiteY2" fmla="*/ 6188397 h 6188397"/>
              <a:gd name="connsiteX3" fmla="*/ 0 w 6507953"/>
              <a:gd name="connsiteY3" fmla="*/ 6188397 h 6188397"/>
              <a:gd name="connsiteX4" fmla="*/ 81396 w 6507953"/>
              <a:gd name="connsiteY4" fmla="*/ 6094197 h 6188397"/>
              <a:gd name="connsiteX5" fmla="*/ 450649 w 6507953"/>
              <a:gd name="connsiteY5" fmla="*/ 4839242 h 6188397"/>
              <a:gd name="connsiteX6" fmla="*/ 944112 w 6507953"/>
              <a:gd name="connsiteY6" fmla="*/ 2677453 h 6188397"/>
              <a:gd name="connsiteX7" fmla="*/ 2415927 w 6507953"/>
              <a:gd name="connsiteY7" fmla="*/ 1921114 h 6188397"/>
              <a:gd name="connsiteX8" fmla="*/ 3628626 w 6507953"/>
              <a:gd name="connsiteY8" fmla="*/ 557128 h 6188397"/>
              <a:gd name="connsiteX9" fmla="*/ 4675091 w 6507953"/>
              <a:gd name="connsiteY9" fmla="*/ 530439 h 6188397"/>
              <a:gd name="connsiteX10" fmla="*/ 5976385 w 6507953"/>
              <a:gd name="connsiteY10" fmla="*/ 0 h 61883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507953" h="6188397">
                <a:moveTo>
                  <a:pt x="5976385" y="0"/>
                </a:moveTo>
                <a:cubicBezTo>
                  <a:pt x="6173580" y="0"/>
                  <a:pt x="6347435" y="30501"/>
                  <a:pt x="6507953" y="71964"/>
                </a:cubicBezTo>
                <a:lnTo>
                  <a:pt x="6507953" y="6188397"/>
                </a:lnTo>
                <a:lnTo>
                  <a:pt x="0" y="6188397"/>
                </a:lnTo>
                <a:lnTo>
                  <a:pt x="81396" y="6094197"/>
                </a:lnTo>
                <a:cubicBezTo>
                  <a:pt x="451738" y="5616923"/>
                  <a:pt x="27324" y="5360656"/>
                  <a:pt x="450649" y="4839242"/>
                </a:cubicBezTo>
                <a:cubicBezTo>
                  <a:pt x="919344" y="4262098"/>
                  <a:pt x="394444" y="3377557"/>
                  <a:pt x="944112" y="2677453"/>
                </a:cubicBezTo>
                <a:cubicBezTo>
                  <a:pt x="1484254" y="1989742"/>
                  <a:pt x="1470917" y="2519227"/>
                  <a:pt x="2415927" y="1921114"/>
                </a:cubicBezTo>
                <a:cubicBezTo>
                  <a:pt x="3127542" y="1470264"/>
                  <a:pt x="2353530" y="835930"/>
                  <a:pt x="3628626" y="557128"/>
                </a:cubicBezTo>
                <a:cubicBezTo>
                  <a:pt x="4098273" y="454662"/>
                  <a:pt x="4275939" y="634811"/>
                  <a:pt x="4675091" y="530439"/>
                </a:cubicBezTo>
                <a:cubicBezTo>
                  <a:pt x="5240001" y="383174"/>
                  <a:pt x="5359080" y="0"/>
                  <a:pt x="597638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lIns="3528000" tIns="1080000" rIns="180000" anchor="t" anchorCtr="0">
            <a:noAutofit/>
          </a:bodyPr>
          <a:lstStyle>
            <a:lvl1pPr marL="0" indent="0" algn="r">
              <a:buNone/>
              <a:defRPr sz="2400"/>
            </a:lvl1pPr>
          </a:lstStyle>
          <a:p>
            <a:r>
              <a:rPr lang="en-GB" dirty="0"/>
              <a:t>Add an image: Click here, insert image via Templafy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784225" y="481665"/>
            <a:ext cx="7860045" cy="105224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GB" noProof="0" dirty="0"/>
              <a:t>Click to add heading on maximum two row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 userDrawn="1">
            <p:ph sz="half" idx="1" hasCustomPrompt="1"/>
          </p:nvPr>
        </p:nvSpPr>
        <p:spPr>
          <a:xfrm>
            <a:off x="784226" y="1763713"/>
            <a:ext cx="5111750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_DateCustomA"/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LD_PresentationTitle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7932391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ntent - two columns">
    <p:bg>
      <p:bgPr>
        <a:solidFill>
          <a:srgbClr val="EBF9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739EB4BE-1358-4A58-A92F-2C27D7EAB55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685247" y="669602"/>
            <a:ext cx="6507953" cy="6188397"/>
          </a:xfrm>
          <a:custGeom>
            <a:avLst/>
            <a:gdLst>
              <a:gd name="connsiteX0" fmla="*/ 5976385 w 6507953"/>
              <a:gd name="connsiteY0" fmla="*/ 0 h 6188397"/>
              <a:gd name="connsiteX1" fmla="*/ 6507953 w 6507953"/>
              <a:gd name="connsiteY1" fmla="*/ 71964 h 6188397"/>
              <a:gd name="connsiteX2" fmla="*/ 6507953 w 6507953"/>
              <a:gd name="connsiteY2" fmla="*/ 6188397 h 6188397"/>
              <a:gd name="connsiteX3" fmla="*/ 0 w 6507953"/>
              <a:gd name="connsiteY3" fmla="*/ 6188397 h 6188397"/>
              <a:gd name="connsiteX4" fmla="*/ 81396 w 6507953"/>
              <a:gd name="connsiteY4" fmla="*/ 6094197 h 6188397"/>
              <a:gd name="connsiteX5" fmla="*/ 450649 w 6507953"/>
              <a:gd name="connsiteY5" fmla="*/ 4839242 h 6188397"/>
              <a:gd name="connsiteX6" fmla="*/ 944112 w 6507953"/>
              <a:gd name="connsiteY6" fmla="*/ 2677453 h 6188397"/>
              <a:gd name="connsiteX7" fmla="*/ 2415927 w 6507953"/>
              <a:gd name="connsiteY7" fmla="*/ 1921114 h 6188397"/>
              <a:gd name="connsiteX8" fmla="*/ 3628626 w 6507953"/>
              <a:gd name="connsiteY8" fmla="*/ 557128 h 6188397"/>
              <a:gd name="connsiteX9" fmla="*/ 4675091 w 6507953"/>
              <a:gd name="connsiteY9" fmla="*/ 530439 h 6188397"/>
              <a:gd name="connsiteX10" fmla="*/ 5976385 w 6507953"/>
              <a:gd name="connsiteY10" fmla="*/ 0 h 61883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507953" h="6188397">
                <a:moveTo>
                  <a:pt x="5976385" y="0"/>
                </a:moveTo>
                <a:cubicBezTo>
                  <a:pt x="6173580" y="0"/>
                  <a:pt x="6347435" y="30501"/>
                  <a:pt x="6507953" y="71964"/>
                </a:cubicBezTo>
                <a:lnTo>
                  <a:pt x="6507953" y="6188397"/>
                </a:lnTo>
                <a:lnTo>
                  <a:pt x="0" y="6188397"/>
                </a:lnTo>
                <a:lnTo>
                  <a:pt x="81396" y="6094197"/>
                </a:lnTo>
                <a:cubicBezTo>
                  <a:pt x="451738" y="5616923"/>
                  <a:pt x="27324" y="5360656"/>
                  <a:pt x="450649" y="4839242"/>
                </a:cubicBezTo>
                <a:cubicBezTo>
                  <a:pt x="919344" y="4262098"/>
                  <a:pt x="394444" y="3377557"/>
                  <a:pt x="944112" y="2677453"/>
                </a:cubicBezTo>
                <a:cubicBezTo>
                  <a:pt x="1484254" y="1989742"/>
                  <a:pt x="1470917" y="2519227"/>
                  <a:pt x="2415927" y="1921114"/>
                </a:cubicBezTo>
                <a:cubicBezTo>
                  <a:pt x="3127542" y="1470264"/>
                  <a:pt x="2353530" y="835930"/>
                  <a:pt x="3628626" y="557128"/>
                </a:cubicBezTo>
                <a:cubicBezTo>
                  <a:pt x="4098273" y="454662"/>
                  <a:pt x="4275939" y="634811"/>
                  <a:pt x="4675091" y="530439"/>
                </a:cubicBezTo>
                <a:cubicBezTo>
                  <a:pt x="5240001" y="383174"/>
                  <a:pt x="5359080" y="0"/>
                  <a:pt x="597638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lIns="3528000" tIns="1080000" rIns="180000" anchor="t" anchorCtr="0">
            <a:noAutofit/>
          </a:bodyPr>
          <a:lstStyle>
            <a:lvl1pPr marL="0" indent="0" algn="r">
              <a:buNone/>
              <a:defRPr sz="2400"/>
            </a:lvl1pPr>
          </a:lstStyle>
          <a:p>
            <a:r>
              <a:rPr lang="en-GB" dirty="0"/>
              <a:t>Add an image: Click here, insert image via Templafy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784225" y="481665"/>
            <a:ext cx="7860045" cy="105224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GB" noProof="0" dirty="0"/>
              <a:t>Click to add heading on maximum two row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 userDrawn="1">
            <p:ph sz="half" idx="1" hasCustomPrompt="1"/>
          </p:nvPr>
        </p:nvSpPr>
        <p:spPr>
          <a:xfrm>
            <a:off x="784226" y="1763713"/>
            <a:ext cx="5111750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_DateCustomA"/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LD_PresentationTitle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3583388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 _Content - two columns">
    <p:bg>
      <p:bgPr>
        <a:solidFill>
          <a:srgbClr val="FAEF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56D3E2AE-17C5-4051-8CFA-81401980D7B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91262" y="0"/>
            <a:ext cx="5900737" cy="6857999"/>
          </a:xfrm>
          <a:solidFill>
            <a:schemeClr val="bg1"/>
          </a:solidFill>
        </p:spPr>
        <p:txBody>
          <a:bodyPr lIns="1080000" tIns="36000" rIns="1080000" anchor="t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200"/>
            </a:lvl1pPr>
          </a:lstStyle>
          <a:p>
            <a:r>
              <a:rPr lang="en-GB" dirty="0"/>
              <a:t>Add an image: Click here, insert image via Templaf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GB" dirty="0"/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4225" y="481665"/>
            <a:ext cx="5111751" cy="105224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GB" noProof="0" dirty="0"/>
              <a:t>Click to add heading on maximum two row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84226" y="1763713"/>
            <a:ext cx="5111750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283740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ntent - two columns">
    <p:bg>
      <p:bgPr>
        <a:solidFill>
          <a:srgbClr val="FF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56D3E2AE-17C5-4051-8CFA-81401980D7B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91262" y="0"/>
            <a:ext cx="5900737" cy="6857999"/>
          </a:xfrm>
          <a:solidFill>
            <a:schemeClr val="bg1"/>
          </a:solidFill>
        </p:spPr>
        <p:txBody>
          <a:bodyPr lIns="1080000" tIns="36000" rIns="1080000" anchor="t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200"/>
            </a:lvl1pPr>
          </a:lstStyle>
          <a:p>
            <a:r>
              <a:rPr lang="en-GB" dirty="0"/>
              <a:t>Add an image: Click here, insert image via Templaf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GB" dirty="0"/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4225" y="481665"/>
            <a:ext cx="5111751" cy="105224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GB" noProof="0" dirty="0"/>
              <a:t>Click to add heading on maximum two row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84226" y="1763713"/>
            <a:ext cx="5111750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447670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ntent - two columns">
    <p:bg>
      <p:bgPr>
        <a:solidFill>
          <a:srgbClr val="EBF9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56D3E2AE-17C5-4051-8CFA-81401980D7B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91262" y="0"/>
            <a:ext cx="5900737" cy="6857999"/>
          </a:xfrm>
          <a:solidFill>
            <a:schemeClr val="bg1"/>
          </a:solidFill>
        </p:spPr>
        <p:txBody>
          <a:bodyPr lIns="1080000" tIns="36000" rIns="1080000" anchor="t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200"/>
            </a:lvl1pPr>
          </a:lstStyle>
          <a:p>
            <a:r>
              <a:rPr lang="en-GB" dirty="0"/>
              <a:t>Add an image: Click here, insert image via Templaf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GB" dirty="0"/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4225" y="481665"/>
            <a:ext cx="5111751" cy="105224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GB" noProof="0" dirty="0"/>
              <a:t>Click to add heading on maximum two row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84226" y="1763713"/>
            <a:ext cx="5111750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0054805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-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GB" noProof="0" dirty="0"/>
              <a:t>Click to add heading on maximum two row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84226" y="1763713"/>
            <a:ext cx="3275012" cy="41751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56800" y="1763713"/>
            <a:ext cx="3275913" cy="417512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8130274" y="1763713"/>
            <a:ext cx="3274325" cy="41751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7923687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-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GB" noProof="0" dirty="0"/>
              <a:t>Click to add heading on maximum two rows</a:t>
            </a:r>
            <a:endParaRPr lang="en-GB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784799" y="2534477"/>
            <a:ext cx="3276000" cy="3407535"/>
          </a:xfrm>
          <a:solidFill>
            <a:srgbClr val="FAEFE5"/>
          </a:solidFill>
        </p:spPr>
        <p:txBody>
          <a:bodyPr lIns="288000" tIns="306000" rIns="288000"/>
          <a:lstStyle>
            <a:lvl1pPr marL="268288" indent="-268288">
              <a:spcBef>
                <a:spcPts val="600"/>
              </a:spcBef>
              <a:buClr>
                <a:srgbClr val="FF5F00"/>
              </a:buClr>
              <a:buFont typeface="Arial" panose="020B0604020202020204" pitchFamily="34" charset="0"/>
              <a:buChar char="●"/>
              <a:defRPr/>
            </a:lvl1pPr>
            <a:lvl2pPr>
              <a:buClr>
                <a:srgbClr val="FF5F00"/>
              </a:buClr>
              <a:defRPr/>
            </a:lvl2pPr>
            <a:lvl3pPr>
              <a:buClr>
                <a:srgbClr val="FF5F00"/>
              </a:buClr>
              <a:defRPr/>
            </a:lvl3pPr>
            <a:lvl4pPr>
              <a:buClr>
                <a:srgbClr val="FF5F00"/>
              </a:buClr>
              <a:defRPr/>
            </a:lvl4pPr>
            <a:lvl5pPr>
              <a:buClr>
                <a:srgbClr val="FF5F00"/>
              </a:buClr>
              <a:defRPr/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456799" y="2534477"/>
            <a:ext cx="3276000" cy="3407536"/>
          </a:xfrm>
          <a:solidFill>
            <a:srgbClr val="FAEFE5"/>
          </a:solidFill>
        </p:spPr>
        <p:txBody>
          <a:bodyPr lIns="288000" tIns="306000" rIns="288000"/>
          <a:lstStyle>
            <a:lvl1pPr marL="268288" indent="-268288"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●"/>
              <a:defRPr/>
            </a:lvl1pPr>
            <a:lvl2pPr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>
              <a:buClr>
                <a:schemeClr val="accent3"/>
              </a:buClr>
              <a:defRPr/>
            </a:lvl4pPr>
            <a:lvl5pPr>
              <a:buClr>
                <a:schemeClr val="accent3"/>
              </a:buClr>
              <a:defRPr/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8128800" y="2534477"/>
            <a:ext cx="3276000" cy="3407536"/>
          </a:xfrm>
          <a:solidFill>
            <a:srgbClr val="FAEFE5"/>
          </a:solidFill>
        </p:spPr>
        <p:txBody>
          <a:bodyPr lIns="288000" tIns="306000" rIns="288000"/>
          <a:lstStyle>
            <a:lvl1pPr marL="268288" indent="-268288">
              <a:spcBef>
                <a:spcPts val="600"/>
              </a:spcBef>
              <a:buClr>
                <a:srgbClr val="C5569A"/>
              </a:buClr>
              <a:buFont typeface="Arial" panose="020B0604020202020204" pitchFamily="34" charset="0"/>
              <a:buChar char="●"/>
              <a:defRPr/>
            </a:lvl1pPr>
            <a:lvl2pPr>
              <a:buClr>
                <a:srgbClr val="C5569A"/>
              </a:buClr>
              <a:defRPr/>
            </a:lvl2pPr>
            <a:lvl3pPr>
              <a:buClr>
                <a:srgbClr val="C5569A"/>
              </a:buClr>
              <a:defRPr/>
            </a:lvl3pPr>
            <a:lvl4pPr>
              <a:buClr>
                <a:srgbClr val="C5569A"/>
              </a:buClr>
              <a:defRPr/>
            </a:lvl4pPr>
            <a:lvl5pPr>
              <a:buClr>
                <a:srgbClr val="C5569A"/>
              </a:buClr>
              <a:defRPr/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787400" y="1836739"/>
            <a:ext cx="3275013" cy="717617"/>
          </a:xfrm>
          <a:solidFill>
            <a:srgbClr val="FF5F00"/>
          </a:solidFill>
        </p:spPr>
        <p:txBody>
          <a:bodyPr lIns="288000" rIns="288000" anchor="ctr" anchorCtr="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9pPr>
          </a:lstStyle>
          <a:p>
            <a:pPr lvl="0"/>
            <a:r>
              <a:rPr lang="en-US" dirty="0"/>
              <a:t>Click to add header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459256" y="1836738"/>
            <a:ext cx="3275013" cy="717617"/>
          </a:xfrm>
          <a:solidFill>
            <a:schemeClr val="accent3"/>
          </a:solidFill>
        </p:spPr>
        <p:txBody>
          <a:bodyPr lIns="288000" rIns="288000" anchor="ctr" anchorCtr="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9pPr>
          </a:lstStyle>
          <a:p>
            <a:pPr lvl="0"/>
            <a:r>
              <a:rPr lang="en-US" dirty="0"/>
              <a:t>Click to add header</a:t>
            </a:r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8129588" y="1836739"/>
            <a:ext cx="3275013" cy="717617"/>
          </a:xfrm>
          <a:solidFill>
            <a:srgbClr val="C5569A"/>
          </a:solidFill>
        </p:spPr>
        <p:txBody>
          <a:bodyPr lIns="288000" rIns="288000" anchor="ctr" anchorCtr="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9pPr>
          </a:lstStyle>
          <a:p>
            <a:pPr lvl="0"/>
            <a:r>
              <a:rPr lang="en-US" dirty="0"/>
              <a:t>Click to add header</a:t>
            </a:r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5165612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-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GB" noProof="0" dirty="0"/>
              <a:t>Click to add heading on maximum two rows</a:t>
            </a:r>
            <a:endParaRPr lang="en-GB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784799" y="2534477"/>
            <a:ext cx="3276000" cy="3407535"/>
          </a:xfrm>
          <a:solidFill>
            <a:srgbClr val="FAEFE5"/>
          </a:solidFill>
        </p:spPr>
        <p:txBody>
          <a:bodyPr lIns="288000" tIns="306000" rIns="288000"/>
          <a:lstStyle>
            <a:lvl1pPr marL="268288" indent="-268288">
              <a:spcBef>
                <a:spcPts val="600"/>
              </a:spcBef>
              <a:buClr>
                <a:srgbClr val="FF5F00"/>
              </a:buClr>
              <a:buFont typeface="Arial" panose="020B0604020202020204" pitchFamily="34" charset="0"/>
              <a:buChar char="●"/>
              <a:defRPr/>
            </a:lvl1pPr>
            <a:lvl2pPr>
              <a:buClr>
                <a:srgbClr val="FF5F00"/>
              </a:buClr>
              <a:defRPr/>
            </a:lvl2pPr>
            <a:lvl3pPr>
              <a:buClr>
                <a:srgbClr val="FF5F00"/>
              </a:buClr>
              <a:defRPr/>
            </a:lvl3pPr>
            <a:lvl4pPr>
              <a:buClr>
                <a:srgbClr val="FF5F00"/>
              </a:buClr>
              <a:defRPr/>
            </a:lvl4pPr>
            <a:lvl5pPr>
              <a:buClr>
                <a:srgbClr val="FF5F00"/>
              </a:buClr>
              <a:defRPr/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456799" y="2534477"/>
            <a:ext cx="3276000" cy="3407536"/>
          </a:xfrm>
          <a:solidFill>
            <a:srgbClr val="FAEFE5"/>
          </a:solidFill>
        </p:spPr>
        <p:txBody>
          <a:bodyPr lIns="288000" tIns="306000" rIns="288000"/>
          <a:lstStyle>
            <a:lvl1pPr marL="268288" indent="-268288">
              <a:spcBef>
                <a:spcPts val="600"/>
              </a:spcBef>
              <a:buClr>
                <a:srgbClr val="FF9102"/>
              </a:buClr>
              <a:buFont typeface="Arial" panose="020B0604020202020204" pitchFamily="34" charset="0"/>
              <a:buChar char="●"/>
              <a:defRPr/>
            </a:lvl1pPr>
            <a:lvl2pPr>
              <a:buClr>
                <a:schemeClr val="accent5"/>
              </a:buClr>
              <a:defRPr/>
            </a:lvl2pPr>
            <a:lvl3pPr>
              <a:buClr>
                <a:schemeClr val="accent5"/>
              </a:buClr>
              <a:defRPr/>
            </a:lvl3pPr>
            <a:lvl4pPr>
              <a:buClr>
                <a:schemeClr val="accent5"/>
              </a:buClr>
              <a:defRPr/>
            </a:lvl4pPr>
            <a:lvl5pPr>
              <a:buClr>
                <a:srgbClr val="FF9102"/>
              </a:buClr>
              <a:defRPr/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8128800" y="2534477"/>
            <a:ext cx="3276000" cy="3407536"/>
          </a:xfrm>
          <a:solidFill>
            <a:srgbClr val="FAEFE5"/>
          </a:solidFill>
        </p:spPr>
        <p:txBody>
          <a:bodyPr lIns="288000" tIns="306000" rIns="288000"/>
          <a:lstStyle>
            <a:lvl1pPr marL="268288" indent="-268288">
              <a:spcBef>
                <a:spcPts val="600"/>
              </a:spcBef>
              <a:buClr>
                <a:srgbClr val="FDC92A"/>
              </a:buClr>
              <a:buFont typeface="Arial" panose="020B0604020202020204" pitchFamily="34" charset="0"/>
              <a:buChar char="●"/>
              <a:defRPr/>
            </a:lvl1pPr>
            <a:lvl2pPr>
              <a:buClr>
                <a:srgbClr val="FDC92A"/>
              </a:buClr>
              <a:defRPr/>
            </a:lvl2pPr>
            <a:lvl3pPr>
              <a:buClr>
                <a:srgbClr val="FDC92A"/>
              </a:buClr>
              <a:defRPr/>
            </a:lvl3pPr>
            <a:lvl4pPr>
              <a:buClr>
                <a:srgbClr val="FDC92A"/>
              </a:buClr>
              <a:defRPr/>
            </a:lvl4pPr>
            <a:lvl5pPr>
              <a:buClr>
                <a:srgbClr val="FDC92A"/>
              </a:buClr>
              <a:defRPr/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787400" y="1836739"/>
            <a:ext cx="3275013" cy="717617"/>
          </a:xfrm>
          <a:solidFill>
            <a:srgbClr val="FF5F00"/>
          </a:solidFill>
        </p:spPr>
        <p:txBody>
          <a:bodyPr lIns="288000" rIns="288000" anchor="ctr" anchorCtr="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9pPr>
          </a:lstStyle>
          <a:p>
            <a:pPr lvl="0"/>
            <a:r>
              <a:rPr lang="en-US" dirty="0"/>
              <a:t>Click to add header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459256" y="1836738"/>
            <a:ext cx="3275013" cy="717617"/>
          </a:xfrm>
          <a:solidFill>
            <a:srgbClr val="FF9102"/>
          </a:solidFill>
        </p:spPr>
        <p:txBody>
          <a:bodyPr lIns="288000" rIns="288000" anchor="ctr" anchorCtr="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9pPr>
          </a:lstStyle>
          <a:p>
            <a:pPr lvl="0"/>
            <a:r>
              <a:rPr lang="en-US" dirty="0"/>
              <a:t>Click to add header</a:t>
            </a:r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8129588" y="1836739"/>
            <a:ext cx="3275013" cy="717617"/>
          </a:xfrm>
          <a:solidFill>
            <a:schemeClr val="accent2"/>
          </a:solidFill>
        </p:spPr>
        <p:txBody>
          <a:bodyPr lIns="288000" rIns="288000" anchor="ctr" anchorCtr="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/>
            </a:lvl9pPr>
          </a:lstStyle>
          <a:p>
            <a:pPr lvl="0"/>
            <a:r>
              <a:rPr lang="en-US" dirty="0"/>
              <a:t>Click to add header</a:t>
            </a:r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30992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hapter, on background">
    <p:bg>
      <p:bgPr>
        <a:solidFill>
          <a:srgbClr val="FF91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9313D3A0-5532-4D95-A52A-0EA452D20CC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82638" y="1763713"/>
            <a:ext cx="10621962" cy="2546858"/>
          </a:xfrm>
          <a:noFill/>
        </p:spPr>
        <p:txBody>
          <a:bodyPr lIns="0" tIns="0" rIns="0" bIns="0" anchor="ctr" anchorCtr="0"/>
          <a:lstStyle>
            <a:lvl1pPr algn="ctr" defTabSz="914400" rtl="0" eaLnBrk="1" latinLnBrk="0" hangingPunct="1">
              <a:lnSpc>
                <a:spcPts val="6800"/>
              </a:lnSpc>
              <a:spcBef>
                <a:spcPct val="0"/>
              </a:spcBef>
              <a:buNone/>
              <a:defRPr lang="en-GB" sz="66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Add chapter heading or big messag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220914" y="4724087"/>
            <a:ext cx="7745412" cy="854599"/>
          </a:xfrm>
        </p:spPr>
        <p:txBody>
          <a:bodyPr anchor="t" anchorCtr="0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Char char="​"/>
              <a:defRPr sz="2400" baseline="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Insert introduction text</a:t>
            </a:r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2476701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graphical element">
    <p:bg>
      <p:bgPr>
        <a:solidFill>
          <a:srgbClr val="EBF9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 baseline="0"/>
            </a:lvl1pPr>
          </a:lstStyle>
          <a:p>
            <a:r>
              <a:rPr lang="en-GB" noProof="0" dirty="0"/>
              <a:t>Click to add heading on maximum two row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84226" y="1763713"/>
            <a:ext cx="6948488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4511A51-2A2A-4300-BF46-3C3CB9228A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21246" y="1746000"/>
            <a:ext cx="3484800" cy="3868322"/>
          </a:xfrm>
          <a:custGeom>
            <a:avLst/>
            <a:gdLst>
              <a:gd name="connsiteX0" fmla="*/ 1700043 w 3484800"/>
              <a:gd name="connsiteY0" fmla="*/ 0 h 3868322"/>
              <a:gd name="connsiteX1" fmla="*/ 1784318 w 3484800"/>
              <a:gd name="connsiteY1" fmla="*/ 0 h 3868322"/>
              <a:gd name="connsiteX2" fmla="*/ 1901903 w 3484800"/>
              <a:gd name="connsiteY2" fmla="*/ 4700 h 3868322"/>
              <a:gd name="connsiteX3" fmla="*/ 3484612 w 3484800"/>
              <a:gd name="connsiteY3" fmla="*/ 1625550 h 3868322"/>
              <a:gd name="connsiteX4" fmla="*/ 1742402 w 3484800"/>
              <a:gd name="connsiteY4" fmla="*/ 3868322 h 3868322"/>
              <a:gd name="connsiteX5" fmla="*/ 192 w 3484800"/>
              <a:gd name="connsiteY5" fmla="*/ 1625550 h 3868322"/>
              <a:gd name="connsiteX6" fmla="*/ 1582754 w 3484800"/>
              <a:gd name="connsiteY6" fmla="*/ 4656 h 3868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484800" h="3868322">
                <a:moveTo>
                  <a:pt x="1700043" y="0"/>
                </a:moveTo>
                <a:lnTo>
                  <a:pt x="1784318" y="0"/>
                </a:lnTo>
                <a:lnTo>
                  <a:pt x="1901903" y="4700"/>
                </a:lnTo>
                <a:cubicBezTo>
                  <a:pt x="2697790" y="68375"/>
                  <a:pt x="3448975" y="608757"/>
                  <a:pt x="3484612" y="1625550"/>
                </a:cubicBezTo>
                <a:cubicBezTo>
                  <a:pt x="3501632" y="3093953"/>
                  <a:pt x="2363555" y="3042913"/>
                  <a:pt x="1742402" y="3868322"/>
                </a:cubicBezTo>
                <a:cubicBezTo>
                  <a:pt x="1121348" y="3043135"/>
                  <a:pt x="-16975" y="3093584"/>
                  <a:pt x="192" y="1625550"/>
                </a:cubicBezTo>
                <a:cubicBezTo>
                  <a:pt x="35737" y="608308"/>
                  <a:pt x="786873" y="68108"/>
                  <a:pt x="1582754" y="4656"/>
                </a:cubicBezTo>
                <a:close/>
              </a:path>
            </a:pathLst>
          </a:custGeom>
          <a:solidFill>
            <a:srgbClr val="FF5F00"/>
          </a:solidFill>
        </p:spPr>
        <p:txBody>
          <a:bodyPr wrap="square" lIns="108000" tIns="0" rIns="108000" bIns="360000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2800">
                <a:solidFill>
                  <a:schemeClr val="bg1"/>
                </a:solidFill>
                <a:latin typeface="Swedbank Headline Bold" panose="02000000000000000000" pitchFamily="50" charset="0"/>
              </a:defRPr>
            </a:lvl1pPr>
            <a:lvl2pPr marL="0" indent="0" algn="ctr">
              <a:buNone/>
              <a:defRPr/>
            </a:lvl2pPr>
            <a:lvl3pPr marL="0" indent="0" algn="ctr">
              <a:buNone/>
              <a:defRPr/>
            </a:lvl3pPr>
            <a:lvl4pPr marL="0" indent="0" algn="ctr">
              <a:buNone/>
              <a:defRPr/>
            </a:lvl4pPr>
            <a:lvl5pPr marL="0" indent="0" algn="ctr">
              <a:buNone/>
              <a:defRPr/>
            </a:lvl5pPr>
          </a:lstStyle>
          <a:p>
            <a:pPr lvl="0"/>
            <a:r>
              <a:rPr lang="en-US" dirty="0"/>
              <a:t>Click to add message</a:t>
            </a:r>
            <a:endParaRPr lang="en-GB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en-GB" noProof="0" smtClean="0"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31298284"/>
      </p:ext>
    </p:extLst>
  </p:cSld>
  <p:clrMapOvr>
    <a:masterClrMapping/>
  </p:clrMapOvr>
  <p:hf hdr="0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with graphical element">
    <p:bg>
      <p:bgPr>
        <a:solidFill>
          <a:srgbClr val="FAEF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 baseline="0"/>
            </a:lvl1pPr>
          </a:lstStyle>
          <a:p>
            <a:r>
              <a:rPr lang="en-GB" noProof="0" dirty="0"/>
              <a:t>Click to add heading on maximum two row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84226" y="1763713"/>
            <a:ext cx="6948488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4511A51-2A2A-4300-BF46-3C3CB9228A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21246" y="1746000"/>
            <a:ext cx="3484800" cy="3868322"/>
          </a:xfrm>
          <a:custGeom>
            <a:avLst/>
            <a:gdLst>
              <a:gd name="connsiteX0" fmla="*/ 1700043 w 3484800"/>
              <a:gd name="connsiteY0" fmla="*/ 0 h 3868322"/>
              <a:gd name="connsiteX1" fmla="*/ 1784318 w 3484800"/>
              <a:gd name="connsiteY1" fmla="*/ 0 h 3868322"/>
              <a:gd name="connsiteX2" fmla="*/ 1901903 w 3484800"/>
              <a:gd name="connsiteY2" fmla="*/ 4700 h 3868322"/>
              <a:gd name="connsiteX3" fmla="*/ 3484612 w 3484800"/>
              <a:gd name="connsiteY3" fmla="*/ 1625550 h 3868322"/>
              <a:gd name="connsiteX4" fmla="*/ 1742402 w 3484800"/>
              <a:gd name="connsiteY4" fmla="*/ 3868322 h 3868322"/>
              <a:gd name="connsiteX5" fmla="*/ 192 w 3484800"/>
              <a:gd name="connsiteY5" fmla="*/ 1625550 h 3868322"/>
              <a:gd name="connsiteX6" fmla="*/ 1582754 w 3484800"/>
              <a:gd name="connsiteY6" fmla="*/ 4656 h 3868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484800" h="3868322">
                <a:moveTo>
                  <a:pt x="1700043" y="0"/>
                </a:moveTo>
                <a:lnTo>
                  <a:pt x="1784318" y="0"/>
                </a:lnTo>
                <a:lnTo>
                  <a:pt x="1901903" y="4700"/>
                </a:lnTo>
                <a:cubicBezTo>
                  <a:pt x="2697790" y="68375"/>
                  <a:pt x="3448975" y="608757"/>
                  <a:pt x="3484612" y="1625550"/>
                </a:cubicBezTo>
                <a:cubicBezTo>
                  <a:pt x="3501632" y="3093953"/>
                  <a:pt x="2363555" y="3042913"/>
                  <a:pt x="1742402" y="3868322"/>
                </a:cubicBezTo>
                <a:cubicBezTo>
                  <a:pt x="1121348" y="3043135"/>
                  <a:pt x="-16975" y="3093584"/>
                  <a:pt x="192" y="1625550"/>
                </a:cubicBezTo>
                <a:cubicBezTo>
                  <a:pt x="35737" y="608308"/>
                  <a:pt x="786873" y="68108"/>
                  <a:pt x="1582754" y="4656"/>
                </a:cubicBezTo>
                <a:close/>
              </a:path>
            </a:pathLst>
          </a:custGeom>
          <a:solidFill>
            <a:srgbClr val="FF5F00"/>
          </a:solidFill>
        </p:spPr>
        <p:txBody>
          <a:bodyPr wrap="square" lIns="108000" tIns="0" rIns="108000" bIns="360000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2800">
                <a:solidFill>
                  <a:schemeClr val="bg1"/>
                </a:solidFill>
                <a:latin typeface="Swedbank Headline Bold" panose="02000000000000000000" pitchFamily="50" charset="0"/>
              </a:defRPr>
            </a:lvl1pPr>
            <a:lvl2pPr marL="0" indent="0" algn="ctr">
              <a:buNone/>
              <a:defRPr/>
            </a:lvl2pPr>
            <a:lvl3pPr marL="0" indent="0" algn="ctr">
              <a:buNone/>
              <a:defRPr/>
            </a:lvl3pPr>
            <a:lvl4pPr marL="0" indent="0" algn="ctr">
              <a:buNone/>
              <a:defRPr/>
            </a:lvl4pPr>
            <a:lvl5pPr marL="0" indent="0" algn="ctr">
              <a:buNone/>
              <a:defRPr/>
            </a:lvl5pPr>
          </a:lstStyle>
          <a:p>
            <a:pPr lvl="0"/>
            <a:r>
              <a:rPr lang="en-US" dirty="0"/>
              <a:t>Click to add message</a:t>
            </a:r>
            <a:endParaRPr lang="en-GB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en-GB" noProof="0" smtClean="0"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079223211"/>
      </p:ext>
    </p:extLst>
  </p:cSld>
  <p:clrMapOvr>
    <a:masterClrMapping/>
  </p:clrMapOvr>
  <p:hf hdr="0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with graphical element">
    <p:bg>
      <p:bgPr>
        <a:solidFill>
          <a:srgbClr val="FF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 baseline="0"/>
            </a:lvl1pPr>
          </a:lstStyle>
          <a:p>
            <a:r>
              <a:rPr lang="en-GB" noProof="0" dirty="0"/>
              <a:t>Click to add heading on maximum two row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84226" y="1763713"/>
            <a:ext cx="6948488" cy="4175125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4511A51-2A2A-4300-BF46-3C3CB9228A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21246" y="1746000"/>
            <a:ext cx="3484800" cy="3868322"/>
          </a:xfrm>
          <a:custGeom>
            <a:avLst/>
            <a:gdLst>
              <a:gd name="connsiteX0" fmla="*/ 1700043 w 3484800"/>
              <a:gd name="connsiteY0" fmla="*/ 0 h 3868322"/>
              <a:gd name="connsiteX1" fmla="*/ 1784318 w 3484800"/>
              <a:gd name="connsiteY1" fmla="*/ 0 h 3868322"/>
              <a:gd name="connsiteX2" fmla="*/ 1901903 w 3484800"/>
              <a:gd name="connsiteY2" fmla="*/ 4700 h 3868322"/>
              <a:gd name="connsiteX3" fmla="*/ 3484612 w 3484800"/>
              <a:gd name="connsiteY3" fmla="*/ 1625550 h 3868322"/>
              <a:gd name="connsiteX4" fmla="*/ 1742402 w 3484800"/>
              <a:gd name="connsiteY4" fmla="*/ 3868322 h 3868322"/>
              <a:gd name="connsiteX5" fmla="*/ 192 w 3484800"/>
              <a:gd name="connsiteY5" fmla="*/ 1625550 h 3868322"/>
              <a:gd name="connsiteX6" fmla="*/ 1582754 w 3484800"/>
              <a:gd name="connsiteY6" fmla="*/ 4656 h 3868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484800" h="3868322">
                <a:moveTo>
                  <a:pt x="1700043" y="0"/>
                </a:moveTo>
                <a:lnTo>
                  <a:pt x="1784318" y="0"/>
                </a:lnTo>
                <a:lnTo>
                  <a:pt x="1901903" y="4700"/>
                </a:lnTo>
                <a:cubicBezTo>
                  <a:pt x="2697790" y="68375"/>
                  <a:pt x="3448975" y="608757"/>
                  <a:pt x="3484612" y="1625550"/>
                </a:cubicBezTo>
                <a:cubicBezTo>
                  <a:pt x="3501632" y="3093953"/>
                  <a:pt x="2363555" y="3042913"/>
                  <a:pt x="1742402" y="3868322"/>
                </a:cubicBezTo>
                <a:cubicBezTo>
                  <a:pt x="1121348" y="3043135"/>
                  <a:pt x="-16975" y="3093584"/>
                  <a:pt x="192" y="1625550"/>
                </a:cubicBezTo>
                <a:cubicBezTo>
                  <a:pt x="35737" y="608308"/>
                  <a:pt x="786873" y="68108"/>
                  <a:pt x="1582754" y="4656"/>
                </a:cubicBezTo>
                <a:close/>
              </a:path>
            </a:pathLst>
          </a:custGeom>
          <a:solidFill>
            <a:srgbClr val="FF5F00"/>
          </a:solidFill>
        </p:spPr>
        <p:txBody>
          <a:bodyPr wrap="square" lIns="108000" tIns="0" rIns="108000" bIns="360000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2800">
                <a:solidFill>
                  <a:schemeClr val="bg1"/>
                </a:solidFill>
                <a:latin typeface="Swedbank Headline Bold" panose="02000000000000000000" pitchFamily="50" charset="0"/>
              </a:defRPr>
            </a:lvl1pPr>
            <a:lvl2pPr marL="0" indent="0" algn="ctr">
              <a:buNone/>
              <a:defRPr/>
            </a:lvl2pPr>
            <a:lvl3pPr marL="0" indent="0" algn="ctr">
              <a:buNone/>
              <a:defRPr/>
            </a:lvl3pPr>
            <a:lvl4pPr marL="0" indent="0" algn="ctr">
              <a:buNone/>
              <a:defRPr/>
            </a:lvl4pPr>
            <a:lvl5pPr marL="0" indent="0" algn="ctr">
              <a:buNone/>
              <a:defRPr/>
            </a:lvl5pPr>
          </a:lstStyle>
          <a:p>
            <a:pPr lvl="0"/>
            <a:r>
              <a:rPr lang="en-US" dirty="0"/>
              <a:t>Click to add message</a:t>
            </a:r>
            <a:endParaRPr lang="en-GB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en-GB" noProof="0" smtClean="0"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469919571"/>
      </p:ext>
    </p:extLst>
  </p:cSld>
  <p:clrMapOvr>
    <a:masterClrMapping/>
  </p:clrMapOvr>
  <p:hf hdr="0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mage and graphical e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">
            <a:extLst>
              <a:ext uri="{FF2B5EF4-FFF2-40B4-BE49-F238E27FC236}">
                <a16:creationId xmlns:a16="http://schemas.microsoft.com/office/drawing/2014/main" id="{DF687458-A9F7-4182-9CDB-598F452798E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6154" cy="6858000"/>
          </a:xfrm>
          <a:noFill/>
        </p:spPr>
        <p:txBody>
          <a:bodyPr tIns="36000"/>
          <a:lstStyle>
            <a:lvl1pPr marL="0" indent="0" algn="ctr">
              <a:buNone/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Add an image: Click here, insert image via Templafy</a:t>
            </a:r>
          </a:p>
        </p:txBody>
      </p:sp>
      <p:sp>
        <p:nvSpPr>
          <p:cNvPr id="3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B01DE2A-FF64-4C84-9084-E50337E586FC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8553349" y="773706"/>
            <a:ext cx="3006000" cy="3006000"/>
          </a:xfrm>
          <a:prstGeom prst="ellipse">
            <a:avLst/>
          </a:prstGeom>
          <a:solidFill>
            <a:srgbClr val="FF5F00"/>
          </a:solidFill>
        </p:spPr>
        <p:txBody>
          <a:bodyPr wrap="square" lIns="108000" tIns="108000" rIns="108000" bIns="108000" anchor="ctr" anchorCtr="0">
            <a:noAutofit/>
          </a:bodyPr>
          <a:lstStyle>
            <a:lvl1pPr marL="0" indent="0" algn="ctr">
              <a:lnSpc>
                <a:spcPct val="115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  <a:latin typeface="Swedbank Headline Bold" panose="02000000000000000000" pitchFamily="50" charset="0"/>
              </a:defRPr>
            </a:lvl1pPr>
            <a:lvl2pPr marL="0" indent="0" algn="ctr">
              <a:buNone/>
              <a:defRPr/>
            </a:lvl2pPr>
            <a:lvl3pPr marL="0" indent="0" algn="ctr">
              <a:buNone/>
              <a:defRPr/>
            </a:lvl3pPr>
            <a:lvl4pPr marL="0" indent="0" algn="ctr">
              <a:buNone/>
              <a:defRPr/>
            </a:lvl4pPr>
            <a:lvl5pPr marL="0" indent="0" algn="ctr">
              <a:buNone/>
              <a:defRPr/>
            </a:lvl5pPr>
          </a:lstStyle>
          <a:p>
            <a:pPr lvl="0"/>
            <a:r>
              <a:rPr lang="en-GB" dirty="0"/>
              <a:t>Click to add text, place the circle to fit the image</a:t>
            </a:r>
          </a:p>
        </p:txBody>
      </p:sp>
    </p:spTree>
    <p:extLst>
      <p:ext uri="{BB962C8B-B14F-4D97-AF65-F5344CB8AC3E}">
        <p14:creationId xmlns:p14="http://schemas.microsoft.com/office/powerpoint/2010/main" val="125595225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Image and graphical e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">
            <a:extLst>
              <a:ext uri="{FF2B5EF4-FFF2-40B4-BE49-F238E27FC236}">
                <a16:creationId xmlns:a16="http://schemas.microsoft.com/office/drawing/2014/main" id="{DF687458-A9F7-4182-9CDB-598F452798E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6154" cy="6858000"/>
          </a:xfrm>
          <a:noFill/>
        </p:spPr>
        <p:txBody>
          <a:bodyPr tIns="36000"/>
          <a:lstStyle>
            <a:lvl1pPr marL="0" indent="0" algn="ctr">
              <a:buNone/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Add an image: Click here, insert image via Templafy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ED2DDD8-A6C0-4722-B160-05B5C7618194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1074301" y="2932838"/>
            <a:ext cx="3006000" cy="3006000"/>
          </a:xfrm>
          <a:prstGeom prst="ellipse">
            <a:avLst/>
          </a:prstGeom>
          <a:solidFill>
            <a:srgbClr val="FDC92A"/>
          </a:solidFill>
        </p:spPr>
        <p:txBody>
          <a:bodyPr wrap="square" lIns="108000" tIns="108000" rIns="108000" bIns="108000" anchor="ctr" anchorCtr="0">
            <a:noAutofit/>
          </a:bodyPr>
          <a:lstStyle>
            <a:lvl1pPr marL="0" indent="0" algn="ctr">
              <a:lnSpc>
                <a:spcPct val="115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  <a:latin typeface="Swedbank Headline Bold" panose="02000000000000000000" pitchFamily="50" charset="0"/>
              </a:defRPr>
            </a:lvl1pPr>
            <a:lvl2pPr marL="0" indent="0" algn="ctr">
              <a:buNone/>
              <a:defRPr/>
            </a:lvl2pPr>
            <a:lvl3pPr marL="0" indent="0" algn="ctr">
              <a:buNone/>
              <a:defRPr/>
            </a:lvl3pPr>
            <a:lvl4pPr marL="0" indent="0" algn="ctr">
              <a:buNone/>
              <a:defRPr/>
            </a:lvl4pPr>
            <a:lvl5pPr marL="0" indent="0" algn="ctr">
              <a:buNone/>
              <a:defRPr/>
            </a:lvl5pPr>
          </a:lstStyle>
          <a:p>
            <a:pPr lvl="0"/>
            <a:r>
              <a:rPr lang="en-GB" dirty="0"/>
              <a:t>Click to add text, place the circle to fit the 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C23AC8D-2FDA-4C41-B15B-B7063CF859E6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4593213" y="2932838"/>
            <a:ext cx="3006000" cy="3006000"/>
          </a:xfrm>
          <a:prstGeom prst="ellipse">
            <a:avLst/>
          </a:prstGeom>
          <a:solidFill>
            <a:srgbClr val="FF9102"/>
          </a:solidFill>
        </p:spPr>
        <p:txBody>
          <a:bodyPr wrap="square" lIns="108000" tIns="108000" rIns="108000" bIns="108000" anchor="ctr" anchorCtr="0">
            <a:noAutofit/>
          </a:bodyPr>
          <a:lstStyle>
            <a:lvl1pPr marL="0" indent="0" algn="ctr">
              <a:lnSpc>
                <a:spcPct val="115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  <a:latin typeface="Swedbank Headline Bold" panose="02000000000000000000" pitchFamily="50" charset="0"/>
              </a:defRPr>
            </a:lvl1pPr>
            <a:lvl2pPr marL="0" indent="0" algn="ctr">
              <a:buNone/>
              <a:defRPr/>
            </a:lvl2pPr>
            <a:lvl3pPr marL="0" indent="0" algn="ctr">
              <a:buNone/>
              <a:defRPr/>
            </a:lvl3pPr>
            <a:lvl4pPr marL="0" indent="0" algn="ctr">
              <a:buNone/>
              <a:defRPr/>
            </a:lvl4pPr>
            <a:lvl5pPr marL="0" indent="0" algn="ctr">
              <a:buNone/>
              <a:defRPr/>
            </a:lvl5pPr>
          </a:lstStyle>
          <a:p>
            <a:pPr lvl="0"/>
            <a:r>
              <a:rPr lang="en-GB" dirty="0"/>
              <a:t>Click to add text, place the circle to fit the imag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6B8687A-8FE8-4330-9C42-41A69DBED9AA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8127574" y="2932838"/>
            <a:ext cx="3006000" cy="3006000"/>
          </a:xfrm>
          <a:prstGeom prst="ellipse">
            <a:avLst/>
          </a:prstGeom>
          <a:solidFill>
            <a:srgbClr val="FF5F00"/>
          </a:solidFill>
        </p:spPr>
        <p:txBody>
          <a:bodyPr wrap="square" lIns="108000" tIns="108000" rIns="108000" bIns="108000" anchor="ctr" anchorCtr="0">
            <a:noAutofit/>
          </a:bodyPr>
          <a:lstStyle>
            <a:lvl1pPr marL="0" indent="0" algn="ctr">
              <a:lnSpc>
                <a:spcPct val="115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  <a:latin typeface="Swedbank Headline Bold" panose="02000000000000000000" pitchFamily="50" charset="0"/>
              </a:defRPr>
            </a:lvl1pPr>
            <a:lvl2pPr marL="0" indent="0" algn="ctr">
              <a:buNone/>
              <a:defRPr/>
            </a:lvl2pPr>
            <a:lvl3pPr marL="0" indent="0" algn="ctr">
              <a:buNone/>
              <a:defRPr/>
            </a:lvl3pPr>
            <a:lvl4pPr marL="0" indent="0" algn="ctr">
              <a:buNone/>
              <a:defRPr/>
            </a:lvl4pPr>
            <a:lvl5pPr marL="0" indent="0" algn="ctr">
              <a:buNone/>
              <a:defRPr/>
            </a:lvl5pPr>
          </a:lstStyle>
          <a:p>
            <a:pPr lvl="0"/>
            <a:r>
              <a:rPr lang="en-GB" dirty="0"/>
              <a:t>Click to add text, place the circle to fit the image</a:t>
            </a:r>
          </a:p>
        </p:txBody>
      </p:sp>
      <p:sp>
        <p:nvSpPr>
          <p:cNvPr id="3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0356359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aphical element on colour">
    <p:bg>
      <p:bgPr>
        <a:solidFill>
          <a:srgbClr val="FFF1C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3A8EB05-7D68-41F1-ABFF-FDDA95CAA141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3817736" y="932699"/>
            <a:ext cx="4556528" cy="5058000"/>
          </a:xfrm>
          <a:custGeom>
            <a:avLst/>
            <a:gdLst>
              <a:gd name="connsiteX0" fmla="*/ 1700043 w 3484800"/>
              <a:gd name="connsiteY0" fmla="*/ 0 h 3868322"/>
              <a:gd name="connsiteX1" fmla="*/ 1784318 w 3484800"/>
              <a:gd name="connsiteY1" fmla="*/ 0 h 3868322"/>
              <a:gd name="connsiteX2" fmla="*/ 1901903 w 3484800"/>
              <a:gd name="connsiteY2" fmla="*/ 4700 h 3868322"/>
              <a:gd name="connsiteX3" fmla="*/ 3484612 w 3484800"/>
              <a:gd name="connsiteY3" fmla="*/ 1625550 h 3868322"/>
              <a:gd name="connsiteX4" fmla="*/ 1742402 w 3484800"/>
              <a:gd name="connsiteY4" fmla="*/ 3868322 h 3868322"/>
              <a:gd name="connsiteX5" fmla="*/ 192 w 3484800"/>
              <a:gd name="connsiteY5" fmla="*/ 1625550 h 3868322"/>
              <a:gd name="connsiteX6" fmla="*/ 1582754 w 3484800"/>
              <a:gd name="connsiteY6" fmla="*/ 4656 h 3868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484800" h="3868322">
                <a:moveTo>
                  <a:pt x="1700043" y="0"/>
                </a:moveTo>
                <a:lnTo>
                  <a:pt x="1784318" y="0"/>
                </a:lnTo>
                <a:lnTo>
                  <a:pt x="1901903" y="4700"/>
                </a:lnTo>
                <a:cubicBezTo>
                  <a:pt x="2697790" y="68375"/>
                  <a:pt x="3448975" y="608757"/>
                  <a:pt x="3484612" y="1625550"/>
                </a:cubicBezTo>
                <a:cubicBezTo>
                  <a:pt x="3501632" y="3093953"/>
                  <a:pt x="2363555" y="3042913"/>
                  <a:pt x="1742402" y="3868322"/>
                </a:cubicBezTo>
                <a:cubicBezTo>
                  <a:pt x="1121348" y="3043135"/>
                  <a:pt x="-16975" y="3093584"/>
                  <a:pt x="192" y="1625550"/>
                </a:cubicBezTo>
                <a:cubicBezTo>
                  <a:pt x="35737" y="608308"/>
                  <a:pt x="786873" y="68108"/>
                  <a:pt x="1582754" y="4656"/>
                </a:cubicBezTo>
                <a:close/>
              </a:path>
            </a:pathLst>
          </a:custGeom>
          <a:solidFill>
            <a:srgbClr val="FF5F00"/>
          </a:solidFill>
        </p:spPr>
        <p:txBody>
          <a:bodyPr wrap="square" lIns="252000" tIns="0" rIns="252000" bIns="360000" anchor="ctr" anchorCtr="0">
            <a:noAutofit/>
          </a:bodyPr>
          <a:lstStyle>
            <a:lvl1pPr marL="0" indent="0" algn="ctr">
              <a:lnSpc>
                <a:spcPct val="83000"/>
              </a:lnSpc>
              <a:spcBef>
                <a:spcPts val="0"/>
              </a:spcBef>
              <a:buNone/>
              <a:defRPr sz="800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/>
            </a:lvl2pPr>
            <a:lvl3pPr marL="0" indent="0" algn="ctr">
              <a:buNone/>
              <a:defRPr/>
            </a:lvl3pPr>
            <a:lvl4pPr marL="0" indent="0" algn="ctr">
              <a:buNone/>
              <a:defRPr/>
            </a:lvl4pPr>
            <a:lvl5pPr marL="0" indent="0" algn="ctr">
              <a:buNone/>
              <a:defRPr/>
            </a:lvl5pPr>
          </a:lstStyle>
          <a:p>
            <a:pPr lvl="0"/>
            <a:r>
              <a:rPr lang="en-US" dirty="0"/>
              <a:t>Add message</a:t>
            </a:r>
            <a:endParaRPr lang="en-GB" dirty="0"/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754412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aphical element on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">
            <a:extLst>
              <a:ext uri="{FF2B5EF4-FFF2-40B4-BE49-F238E27FC236}">
                <a16:creationId xmlns:a16="http://schemas.microsoft.com/office/drawing/2014/main" id="{503D833F-6558-4847-B9DB-8AA23362B55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6154" cy="6858000"/>
          </a:xfrm>
          <a:noFill/>
        </p:spPr>
        <p:txBody>
          <a:bodyPr tIns="36000"/>
          <a:lstStyle>
            <a:lvl1pPr marL="0" indent="0" algn="ctr">
              <a:buNone/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Add an image: Click here, insert image via Templafy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EAC051A-7CEC-463A-BE1D-04106CEF688F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3817736" y="932699"/>
            <a:ext cx="4556528" cy="5058000"/>
          </a:xfrm>
          <a:custGeom>
            <a:avLst/>
            <a:gdLst>
              <a:gd name="connsiteX0" fmla="*/ 1700043 w 3484800"/>
              <a:gd name="connsiteY0" fmla="*/ 0 h 3868322"/>
              <a:gd name="connsiteX1" fmla="*/ 1784318 w 3484800"/>
              <a:gd name="connsiteY1" fmla="*/ 0 h 3868322"/>
              <a:gd name="connsiteX2" fmla="*/ 1901903 w 3484800"/>
              <a:gd name="connsiteY2" fmla="*/ 4700 h 3868322"/>
              <a:gd name="connsiteX3" fmla="*/ 3484612 w 3484800"/>
              <a:gd name="connsiteY3" fmla="*/ 1625550 h 3868322"/>
              <a:gd name="connsiteX4" fmla="*/ 1742402 w 3484800"/>
              <a:gd name="connsiteY4" fmla="*/ 3868322 h 3868322"/>
              <a:gd name="connsiteX5" fmla="*/ 192 w 3484800"/>
              <a:gd name="connsiteY5" fmla="*/ 1625550 h 3868322"/>
              <a:gd name="connsiteX6" fmla="*/ 1582754 w 3484800"/>
              <a:gd name="connsiteY6" fmla="*/ 4656 h 3868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484800" h="3868322">
                <a:moveTo>
                  <a:pt x="1700043" y="0"/>
                </a:moveTo>
                <a:lnTo>
                  <a:pt x="1784318" y="0"/>
                </a:lnTo>
                <a:lnTo>
                  <a:pt x="1901903" y="4700"/>
                </a:lnTo>
                <a:cubicBezTo>
                  <a:pt x="2697790" y="68375"/>
                  <a:pt x="3448975" y="608757"/>
                  <a:pt x="3484612" y="1625550"/>
                </a:cubicBezTo>
                <a:cubicBezTo>
                  <a:pt x="3501632" y="3093953"/>
                  <a:pt x="2363555" y="3042913"/>
                  <a:pt x="1742402" y="3868322"/>
                </a:cubicBezTo>
                <a:cubicBezTo>
                  <a:pt x="1121348" y="3043135"/>
                  <a:pt x="-16975" y="3093584"/>
                  <a:pt x="192" y="1625550"/>
                </a:cubicBezTo>
                <a:cubicBezTo>
                  <a:pt x="35737" y="608308"/>
                  <a:pt x="786873" y="68108"/>
                  <a:pt x="1582754" y="4656"/>
                </a:cubicBezTo>
                <a:close/>
              </a:path>
            </a:pathLst>
          </a:custGeom>
          <a:solidFill>
            <a:srgbClr val="FF5F00"/>
          </a:solidFill>
        </p:spPr>
        <p:txBody>
          <a:bodyPr wrap="square" lIns="252000" tIns="0" rIns="252000" bIns="360000" anchor="ctr" anchorCtr="0">
            <a:noAutofit/>
          </a:bodyPr>
          <a:lstStyle>
            <a:lvl1pPr marL="0" indent="0" algn="ctr">
              <a:lnSpc>
                <a:spcPct val="83000"/>
              </a:lnSpc>
              <a:spcBef>
                <a:spcPts val="0"/>
              </a:spcBef>
              <a:buNone/>
              <a:defRPr sz="8000">
                <a:solidFill>
                  <a:schemeClr val="bg1"/>
                </a:solidFill>
                <a:latin typeface="+mj-lt"/>
              </a:defRPr>
            </a:lvl1pPr>
            <a:lvl2pPr marL="0" indent="0" algn="ctr">
              <a:buNone/>
              <a:defRPr/>
            </a:lvl2pPr>
            <a:lvl3pPr marL="0" indent="0" algn="ctr">
              <a:buNone/>
              <a:defRPr/>
            </a:lvl3pPr>
            <a:lvl4pPr marL="0" indent="0" algn="ctr">
              <a:buNone/>
              <a:defRPr/>
            </a:lvl4pPr>
            <a:lvl5pPr marL="0" indent="0" algn="ctr">
              <a:buNone/>
              <a:defRPr/>
            </a:lvl5pPr>
          </a:lstStyle>
          <a:p>
            <a:pPr lvl="0"/>
            <a:r>
              <a:rPr lang="en-US" dirty="0"/>
              <a:t>Add message</a:t>
            </a:r>
            <a:endParaRPr lang="en-GB" dirty="0"/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313369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, oak shape &amp; logotype">
    <p:bg>
      <p:bgPr>
        <a:solidFill>
          <a:srgbClr val="FDC9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objekt 3">
            <a:extLst>
              <a:ext uri="{FF2B5EF4-FFF2-40B4-BE49-F238E27FC236}">
                <a16:creationId xmlns:a16="http://schemas.microsoft.com/office/drawing/2014/main" id="{58D7241C-1382-42A0-91AA-EBCB856DB47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3" name="Bildobjekt 8">
            <a:extLst>
              <a:ext uri="{FF2B5EF4-FFF2-40B4-BE49-F238E27FC236}">
                <a16:creationId xmlns:a16="http://schemas.microsoft.com/office/drawing/2014/main" id="{F2EF57CF-4C06-47C5-A4D5-BF30A836471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98116" y="2731502"/>
            <a:ext cx="7415902" cy="1592702"/>
          </a:xfrm>
          <a:prstGeom prst="rect">
            <a:avLst/>
          </a:prstGeom>
        </p:spPr>
      </p:pic>
      <p:sp>
        <p:nvSpPr>
          <p:cNvPr id="9" name="image" descr="{&quot;templafy&quot;:{&quot;type&quot;:&quot;image&quot;,&quot;binding&quot;:&quot;Form.InformationClasses.BoxfrontPP&quot;,&quot;inheritDimensions&quot;:&quot;inheritNone&quot;,&quot;width&quot;:&quot;&quot;,&quot;height&quot;:&quot;0.98 cm&quot;,&quot;visibility&quot;:{&quot;action&quot;:&quot;hide&quot;,&quot;compareValue&quot;:&quot;Confidential&quot;,&quot;binding&quot;:&quot;Form.InformationClasses.Term&quot;,&quot;operator&quot;:&quot;notEquals&quot;}}}" title="Form.InformationClasses.BoxfrontPP">
            <a:extLst>
              <a:ext uri="{FF2B5EF4-FFF2-40B4-BE49-F238E27FC236}">
                <a16:creationId xmlns:a16="http://schemas.microsoft.com/office/drawing/2014/main" id="{E4F943D2-161C-44F0-9CCA-CE821B2F5052}"/>
              </a:ext>
            </a:extLst>
          </p:cNvPr>
          <p:cNvSpPr/>
          <p:nvPr userDrawn="1"/>
        </p:nvSpPr>
        <p:spPr>
          <a:xfrm>
            <a:off x="-2707" y="354123"/>
            <a:ext cx="1839621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rIns="162000" rtlCol="0" anchor="ctr"/>
          <a:lstStyle/>
          <a:p>
            <a:pPr algn="r">
              <a:spcBef>
                <a:spcPts val="600"/>
              </a:spcBef>
            </a:pPr>
            <a:endParaRPr lang="en-GB" sz="1400" noProof="0" dirty="0">
              <a:solidFill>
                <a:schemeClr val="bg2"/>
              </a:solidFill>
            </a:endParaRPr>
          </a:p>
        </p:txBody>
      </p:sp>
      <p:sp>
        <p:nvSpPr>
          <p:cNvPr id="10" name="text" descr="{&quot;templafy&quot;:{&quot;type&quot;:&quot;text&quot;,&quot;binding&quot;:&quot;Form.InformationClasses.TermfrontPP&quot;}}" title="Form.InformationClasses.TermfrontPP">
            <a:extLst>
              <a:ext uri="{FF2B5EF4-FFF2-40B4-BE49-F238E27FC236}">
                <a16:creationId xmlns:a16="http://schemas.microsoft.com/office/drawing/2014/main" id="{474FE8A1-D11B-4419-BC92-A72ADAA1C6B9}"/>
              </a:ext>
            </a:extLst>
          </p:cNvPr>
          <p:cNvSpPr/>
          <p:nvPr userDrawn="1"/>
        </p:nvSpPr>
        <p:spPr>
          <a:xfrm>
            <a:off x="-2707" y="354123"/>
            <a:ext cx="1839621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rIns="162000" rtlCol="0" anchor="ctr"/>
          <a:lstStyle/>
          <a:p>
            <a:pPr algn="r">
              <a:spcBef>
                <a:spcPts val="600"/>
              </a:spcBef>
            </a:pPr>
            <a:endParaRPr lang="en-GB" sz="1400" noProof="0" dirty="0">
              <a:solidFill>
                <a:srgbClr val="FF5F00"/>
              </a:solidFill>
              <a:latin typeface="Swedbank Headline Bold" panose="020000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00399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End slide with image &amp; logotyp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8" name="Bildobjekt 8">
            <a:extLst>
              <a:ext uri="{FF2B5EF4-FFF2-40B4-BE49-F238E27FC236}">
                <a16:creationId xmlns:a16="http://schemas.microsoft.com/office/drawing/2014/main" id="{B09103F3-7122-4AAE-8A93-C7507B7A502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auto">
          <a:xfrm>
            <a:off x="2598116" y="2731502"/>
            <a:ext cx="7415902" cy="1592702"/>
          </a:xfrm>
          <a:prstGeom prst="rect">
            <a:avLst/>
          </a:prstGeom>
        </p:spPr>
      </p:pic>
      <p:sp>
        <p:nvSpPr>
          <p:cNvPr id="7" name="image" descr="{&quot;templafy&quot;:{&quot;type&quot;:&quot;image&quot;,&quot;binding&quot;:&quot;Form.InformationClasses.BoxfrontPP&quot;,&quot;inheritDimensions&quot;:&quot;inheritNone&quot;,&quot;width&quot;:&quot;&quot;,&quot;height&quot;:&quot;0.98 cm&quot;,&quot;visibility&quot;:{&quot;action&quot;:&quot;hide&quot;,&quot;compareValue&quot;:&quot;Confidential&quot;,&quot;binding&quot;:&quot;Form.InformationClasses.Term&quot;,&quot;operator&quot;:&quot;notEquals&quot;}}}" title="Form.InformationClasses.BoxfrontPP">
            <a:extLst>
              <a:ext uri="{FF2B5EF4-FFF2-40B4-BE49-F238E27FC236}">
                <a16:creationId xmlns:a16="http://schemas.microsoft.com/office/drawing/2014/main" id="{CC6B1406-C7A8-421A-9226-B304C1139AE7}"/>
              </a:ext>
            </a:extLst>
          </p:cNvPr>
          <p:cNvSpPr/>
          <p:nvPr userDrawn="1"/>
        </p:nvSpPr>
        <p:spPr>
          <a:xfrm>
            <a:off x="-2707" y="354123"/>
            <a:ext cx="1839621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rIns="162000" rtlCol="0" anchor="ctr"/>
          <a:lstStyle/>
          <a:p>
            <a:pPr algn="r">
              <a:spcBef>
                <a:spcPts val="600"/>
              </a:spcBef>
            </a:pPr>
            <a:endParaRPr lang="en-GB" sz="1400" noProof="0" dirty="0">
              <a:solidFill>
                <a:schemeClr val="bg2"/>
              </a:solidFill>
            </a:endParaRPr>
          </a:p>
        </p:txBody>
      </p:sp>
      <p:sp>
        <p:nvSpPr>
          <p:cNvPr id="9" name="text" descr="{&quot;templafy&quot;:{&quot;type&quot;:&quot;text&quot;,&quot;binding&quot;:&quot;Form.InformationClasses.TermfrontPP&quot;}}" title="Form.InformationClasses.TermfrontPP">
            <a:extLst>
              <a:ext uri="{FF2B5EF4-FFF2-40B4-BE49-F238E27FC236}">
                <a16:creationId xmlns:a16="http://schemas.microsoft.com/office/drawing/2014/main" id="{8AA5B805-36C7-42C0-899F-E208023982F5}"/>
              </a:ext>
            </a:extLst>
          </p:cNvPr>
          <p:cNvSpPr/>
          <p:nvPr userDrawn="1"/>
        </p:nvSpPr>
        <p:spPr>
          <a:xfrm>
            <a:off x="-2707" y="354123"/>
            <a:ext cx="1839621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rIns="162000" rtlCol="0" anchor="ctr"/>
          <a:lstStyle/>
          <a:p>
            <a:pPr algn="r">
              <a:spcBef>
                <a:spcPts val="600"/>
              </a:spcBef>
            </a:pPr>
            <a:endParaRPr lang="en-GB" sz="1400" noProof="0" dirty="0">
              <a:solidFill>
                <a:srgbClr val="FF5F00"/>
              </a:solidFill>
              <a:latin typeface="Swedbank Headline Bold" panose="020000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645613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r gu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Box 3">
            <a:extLst>
              <a:ext uri="{FF2B5EF4-FFF2-40B4-BE49-F238E27FC236}">
                <a16:creationId xmlns:a16="http://schemas.microsoft.com/office/drawing/2014/main" id="{19798472-DC87-414E-BC4E-CFAF99EF0E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467579" y="1533525"/>
            <a:ext cx="2786833" cy="4154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PICTURES</a:t>
            </a:r>
            <a:endParaRPr lang="da-DK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corporate picture from Templafy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ck the blue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lafy 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the dropdown, click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s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b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 click the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s </a:t>
            </a:r>
            <a:r>
              <a:rPr lang="da-DK" altLang="da-DK" sz="900" b="0" i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tton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the Templafy pane on the right side of the screen</a:t>
            </a:r>
            <a:endParaRPr lang="da-DK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da-DK" altLang="da-DK" sz="900" b="0" baseline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slides with pictureplaceholder, click on the icon and choose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hange size or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want to scale the picture,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ld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 down while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agging the corners of the picture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delete the picture and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a new one, the picture may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e in front of the text or graphic.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this happens, select the picture,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ght-click and choose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d to Back</a:t>
            </a:r>
          </a:p>
        </p:txBody>
      </p: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1E29220A-15A7-4D74-97D3-C35C0B6650BA}"/>
              </a:ext>
            </a:extLst>
          </p:cNvPr>
          <p:cNvGrpSpPr/>
          <p:nvPr userDrawn="1"/>
        </p:nvGrpSpPr>
        <p:grpSpPr>
          <a:xfrm>
            <a:off x="7254412" y="1801606"/>
            <a:ext cx="676669" cy="997704"/>
            <a:chOff x="6442771" y="2574072"/>
            <a:chExt cx="676669" cy="997704"/>
          </a:xfrm>
        </p:grpSpPr>
        <p:pic>
          <p:nvPicPr>
            <p:cNvPr id="27" name="Billede 26">
              <a:extLst>
                <a:ext uri="{FF2B5EF4-FFF2-40B4-BE49-F238E27FC236}">
                  <a16:creationId xmlns:a16="http://schemas.microsoft.com/office/drawing/2014/main" id="{3A5D5234-21E3-4579-AE5E-A650C0CF9F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38" name="Billede 37">
              <a:extLst>
                <a:ext uri="{FF2B5EF4-FFF2-40B4-BE49-F238E27FC236}">
                  <a16:creationId xmlns:a16="http://schemas.microsoft.com/office/drawing/2014/main" id="{C18E748C-FC83-400F-9C35-D988C122801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l="1432" t="16308" r="2422" b="1509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sp>
        <p:nvSpPr>
          <p:cNvPr id="42" name="Text Box 2">
            <a:extLst>
              <a:ext uri="{FF2B5EF4-FFF2-40B4-BE49-F238E27FC236}">
                <a16:creationId xmlns:a16="http://schemas.microsoft.com/office/drawing/2014/main" id="{00AD0EBC-0A41-4B26-9D79-79E0C00BBA8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90730" y="1539155"/>
            <a:ext cx="2280360" cy="47397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TEXT STYLES</a:t>
            </a:r>
            <a:endParaRPr lang="da-DK" altLang="da-DK" sz="14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he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jump through levels. Click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then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go back in levels use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-TAB</a:t>
            </a:r>
            <a:endParaRPr 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ely, </a:t>
            </a: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</a:t>
            </a:r>
            <a:r>
              <a:rPr 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rease</a:t>
            </a:r>
            <a:br>
              <a:rPr 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st level can be used</a:t>
            </a:r>
          </a:p>
          <a:p>
            <a:pPr eaLnBrk="1" hangingPunct="1">
              <a:spcAft>
                <a:spcPts val="600"/>
              </a:spcAft>
              <a:defRPr/>
            </a:pPr>
            <a:endParaRPr lang="da-DK" sz="900" baseline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</a:t>
            </a: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bullet 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ete bullet for regular text.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bullet button to reaply the correct bullet agai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SLIDES &amp; LAYOU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menu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Slide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the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 to insert a new slide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layou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900" dirty="0" err="1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Click</a:t>
            </a:r>
            <a:r>
              <a:rPr lang="da-DK" sz="900" dirty="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 on the </a:t>
            </a:r>
            <a:r>
              <a:rPr lang="da-DK" sz="900" dirty="0" err="1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arrownext</a:t>
            </a:r>
            <a:r>
              <a:rPr lang="da-DK" sz="900" dirty="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 to </a:t>
            </a:r>
            <a:r>
              <a:rPr lang="da-DK" sz="900" b="1" dirty="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Layout</a:t>
            </a:r>
            <a:br>
              <a:rPr lang="da-DK" sz="900" b="1" dirty="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</a:br>
            <a:r>
              <a:rPr lang="da-DK" sz="900" dirty="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to view a </a:t>
            </a:r>
            <a:r>
              <a:rPr lang="da-DK" sz="900" dirty="0" err="1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dropdown</a:t>
            </a:r>
            <a:r>
              <a:rPr lang="da-DK" sz="900" dirty="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 menu of </a:t>
            </a:r>
            <a:r>
              <a:rPr lang="da-DK" sz="900" dirty="0" err="1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possible</a:t>
            </a:r>
            <a:r>
              <a:rPr lang="da-DK" sz="900" dirty="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 slide layouts</a:t>
            </a:r>
            <a:b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</a:t>
            </a:r>
            <a:r>
              <a:rPr lang="da-DK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u to reset position, size</a:t>
            </a:r>
            <a:r>
              <a:rPr lang="da-DK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formatting of the </a:t>
            </a:r>
            <a:br>
              <a:rPr lang="da-DK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 placeholders to their default settings</a:t>
            </a:r>
            <a:endParaRPr lang="da-DK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3" name="Picture 2">
            <a:extLst>
              <a:ext uri="{FF2B5EF4-FFF2-40B4-BE49-F238E27FC236}">
                <a16:creationId xmlns:a16="http://schemas.microsoft.com/office/drawing/2014/main" id="{7082C8DC-C092-4676-B834-847B1F28585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10609" y="3248359"/>
            <a:ext cx="257143" cy="285714"/>
          </a:xfrm>
          <a:prstGeom prst="rect">
            <a:avLst/>
          </a:prstGeom>
        </p:spPr>
      </p:pic>
      <p:pic>
        <p:nvPicPr>
          <p:cNvPr id="46" name="Picture 29">
            <a:extLst>
              <a:ext uri="{FF2B5EF4-FFF2-40B4-BE49-F238E27FC236}">
                <a16:creationId xmlns:a16="http://schemas.microsoft.com/office/drawing/2014/main" id="{6B35B93D-CCEE-48AF-A769-8729CC05BE8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111150" y="2525176"/>
            <a:ext cx="457143" cy="257143"/>
          </a:xfrm>
          <a:prstGeom prst="rect">
            <a:avLst/>
          </a:prstGeom>
        </p:spPr>
      </p:pic>
      <p:pic>
        <p:nvPicPr>
          <p:cNvPr id="51" name="Picture 33">
            <a:extLst>
              <a:ext uri="{FF2B5EF4-FFF2-40B4-BE49-F238E27FC236}">
                <a16:creationId xmlns:a16="http://schemas.microsoft.com/office/drawing/2014/main" id="{939F9DAB-8633-4819-950D-F5E391BF77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3901" t="45142" r="62601" b="9046"/>
          <a:stretch/>
        </p:blipFill>
        <p:spPr>
          <a:xfrm>
            <a:off x="7254412" y="3044335"/>
            <a:ext cx="341204" cy="321707"/>
          </a:xfrm>
          <a:prstGeom prst="rect">
            <a:avLst/>
          </a:prstGeom>
        </p:spPr>
      </p:pic>
      <p:pic>
        <p:nvPicPr>
          <p:cNvPr id="55" name="Picture 16">
            <a:extLst>
              <a:ext uri="{FF2B5EF4-FFF2-40B4-BE49-F238E27FC236}">
                <a16:creationId xmlns:a16="http://schemas.microsoft.com/office/drawing/2014/main" id="{A13B127D-1BE4-4C8F-96F6-59C8D10D8F4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117031" y="4238911"/>
            <a:ext cx="328881" cy="505501"/>
          </a:xfrm>
          <a:prstGeom prst="rect">
            <a:avLst/>
          </a:prstGeom>
        </p:spPr>
      </p:pic>
      <p:pic>
        <p:nvPicPr>
          <p:cNvPr id="56" name="Picture 20">
            <a:extLst>
              <a:ext uri="{FF2B5EF4-FFF2-40B4-BE49-F238E27FC236}">
                <a16:creationId xmlns:a16="http://schemas.microsoft.com/office/drawing/2014/main" id="{5730DD9A-26F6-4C14-AE7D-221D2B3F38DD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3117031" y="5567064"/>
            <a:ext cx="538465" cy="172841"/>
          </a:xfrm>
          <a:prstGeom prst="rect">
            <a:avLst/>
          </a:prstGeom>
        </p:spPr>
      </p:pic>
      <p:pic>
        <p:nvPicPr>
          <p:cNvPr id="57" name="Picture 19">
            <a:extLst>
              <a:ext uri="{FF2B5EF4-FFF2-40B4-BE49-F238E27FC236}">
                <a16:creationId xmlns:a16="http://schemas.microsoft.com/office/drawing/2014/main" id="{E210FBD4-B8B9-4AFA-9670-2FEBAA1CF374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310433" y="3854075"/>
            <a:ext cx="313788" cy="543900"/>
          </a:xfrm>
          <a:prstGeom prst="rect">
            <a:avLst/>
          </a:prstGeom>
        </p:spPr>
      </p:pic>
      <p:sp>
        <p:nvSpPr>
          <p:cNvPr id="61" name="Text Box 4">
            <a:extLst>
              <a:ext uri="{FF2B5EF4-FFF2-40B4-BE49-F238E27FC236}">
                <a16:creationId xmlns:a16="http://schemas.microsoft.com/office/drawing/2014/main" id="{DD6A81B7-1FEE-46CF-A623-23E99CFEAF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729773" y="1533525"/>
            <a:ext cx="2358243" cy="3908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HEADER &amp;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 this at the very end to apply the change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er and Footer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the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 (write the desired text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 to All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f only used on one sli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GRIDLINES</a:t>
            </a:r>
            <a:endParaRPr lang="da-DK" sz="16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w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 and set tick mark next to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s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Alt + F9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quick view of guides</a:t>
            </a: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SLIDES &amp; SLIDE ELEME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predefined slides and elements from the Templafy button. Choose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s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 elements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om the dropdown menu or from the buttons in the Templafy pane on the right side of the screen</a:t>
            </a:r>
            <a:endParaRPr lang="da-DK" alt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Fast overskrift">
            <a:extLst>
              <a:ext uri="{FF2B5EF4-FFF2-40B4-BE49-F238E27FC236}">
                <a16:creationId xmlns:a16="http://schemas.microsoft.com/office/drawing/2014/main" id="{09C05D50-8477-4113-8B72-9C373B0FF9F9}"/>
              </a:ext>
            </a:extLst>
          </p:cNvPr>
          <p:cNvSpPr txBox="1"/>
          <p:nvPr userDrawn="1"/>
        </p:nvSpPr>
        <p:spPr>
          <a:xfrm>
            <a:off x="790730" y="459169"/>
            <a:ext cx="11109321" cy="6501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da-DK" sz="32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 &amp; TRICKS - YOUR USER GUIDE</a:t>
            </a:r>
          </a:p>
        </p:txBody>
      </p:sp>
      <p:pic>
        <p:nvPicPr>
          <p:cNvPr id="66" name="Picture 2" descr="C:\Users\MAV~1.SKA\AppData\Local\Temp\SNAGHTMLe48c1e.PNG">
            <a:extLst>
              <a:ext uri="{FF2B5EF4-FFF2-40B4-BE49-F238E27FC236}">
                <a16:creationId xmlns:a16="http://schemas.microsoft.com/office/drawing/2014/main" id="{DAC63350-5850-40BB-87A2-CE01481E052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98223" y="4561358"/>
            <a:ext cx="650850" cy="973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6D83AD9C-98AE-450E-B202-15860002D52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3117030" y="5002523"/>
            <a:ext cx="475428" cy="17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05355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hapter, on background">
    <p:bg>
      <p:bgPr>
        <a:solidFill>
          <a:srgbClr val="FDC9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265D7EB4-EF2C-4D4B-BBFA-AD63140C37A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82638" y="1763713"/>
            <a:ext cx="10621962" cy="2546858"/>
          </a:xfrm>
          <a:noFill/>
        </p:spPr>
        <p:txBody>
          <a:bodyPr lIns="0" tIns="0" rIns="0" bIns="0" anchor="ctr" anchorCtr="0"/>
          <a:lstStyle>
            <a:lvl1pPr algn="ctr" defTabSz="914400" rtl="0" eaLnBrk="1" latinLnBrk="0" hangingPunct="1">
              <a:lnSpc>
                <a:spcPts val="6800"/>
              </a:lnSpc>
              <a:spcBef>
                <a:spcPct val="0"/>
              </a:spcBef>
              <a:buNone/>
              <a:defRPr lang="en-GB" sz="66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Add chapter heading or big messag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220914" y="4724087"/>
            <a:ext cx="7745412" cy="854599"/>
          </a:xfrm>
        </p:spPr>
        <p:txBody>
          <a:bodyPr anchor="t" anchorCtr="0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Char char="​"/>
              <a:defRPr sz="2400" baseline="0">
                <a:solidFill>
                  <a:schemeClr val="bg1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Insert introduction text</a:t>
            </a:r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839183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en-GB" sz="1400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430213" y="656823"/>
            <a:ext cx="11356977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4400" b="0" noProof="0" dirty="0">
                <a:solidFill>
                  <a:schemeClr val="bg1"/>
                </a:solidFill>
              </a:rPr>
              <a:t>If you see any </a:t>
            </a:r>
            <a:r>
              <a:rPr lang="en-GB" sz="4400" b="1" i="1" noProof="0" dirty="0">
                <a:solidFill>
                  <a:schemeClr val="bg1"/>
                </a:solidFill>
              </a:rPr>
              <a:t>layouts after this </a:t>
            </a:r>
            <a:r>
              <a:rPr lang="en-GB" sz="4400" b="0" i="0" noProof="0" dirty="0">
                <a:solidFill>
                  <a:schemeClr val="bg1"/>
                </a:solidFill>
              </a:rPr>
              <a:t>one</a:t>
            </a:r>
            <a:r>
              <a:rPr lang="en-GB" sz="4400" b="1" i="1" noProof="0" dirty="0">
                <a:solidFill>
                  <a:schemeClr val="bg1"/>
                </a:solidFill>
              </a:rPr>
              <a:t>,</a:t>
            </a:r>
            <a:br>
              <a:rPr lang="en-GB" sz="4400" b="0" i="0" noProof="0" dirty="0">
                <a:solidFill>
                  <a:schemeClr val="bg1"/>
                </a:solidFill>
              </a:rPr>
            </a:br>
            <a:r>
              <a:rPr lang="en-GB" sz="4400" b="0" noProof="0" dirty="0">
                <a:solidFill>
                  <a:schemeClr val="bg1"/>
                </a:solidFill>
              </a:rPr>
              <a:t>do not use them. These layouts </a:t>
            </a:r>
            <a:r>
              <a:rPr lang="en-GB" sz="4400" b="1" i="1" u="none" noProof="0" dirty="0">
                <a:solidFill>
                  <a:schemeClr val="bg1"/>
                </a:solidFill>
              </a:rPr>
              <a:t>are not </a:t>
            </a:r>
            <a:r>
              <a:rPr lang="en-GB" sz="4400" b="0" noProof="0" dirty="0">
                <a:solidFill>
                  <a:schemeClr val="bg1"/>
                </a:solidFill>
              </a:rPr>
              <a:t>part of our corporate template.</a:t>
            </a:r>
            <a:br>
              <a:rPr lang="en-GB" sz="2800" b="0" noProof="0" dirty="0">
                <a:solidFill>
                  <a:schemeClr val="bg1"/>
                </a:solidFill>
              </a:rPr>
            </a:br>
            <a:br>
              <a:rPr lang="en-GB" sz="2800" b="0" noProof="0" dirty="0">
                <a:solidFill>
                  <a:schemeClr val="bg1"/>
                </a:solidFill>
              </a:rPr>
            </a:br>
            <a:endParaRPr lang="en-GB" sz="2800" b="0" noProof="0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 bwMode="black">
          <a:xfrm rot="8100000">
            <a:off x="10404874" y="3325226"/>
            <a:ext cx="103678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 bwMode="black"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 bwMode="black"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430213" y="2588374"/>
            <a:ext cx="10152346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3800" b="1" i="1" noProof="0" dirty="0">
                <a:solidFill>
                  <a:schemeClr val="bg1"/>
                </a:solidFill>
              </a:rPr>
              <a:t>Do not use </a:t>
            </a:r>
            <a:endParaRPr lang="en-GB" sz="2400" b="1" i="1" dirty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430214" y="5186455"/>
            <a:ext cx="11356974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 dirty="0">
                <a:solidFill>
                  <a:schemeClr val="bg1"/>
                </a:solidFill>
              </a:rPr>
              <a:t>Due to PowerPoint’s standard Copy/Paste functionality extra undesirable layouts can appear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 dirty="0">
                <a:solidFill>
                  <a:schemeClr val="bg1"/>
                </a:solidFill>
              </a:rPr>
              <a:t>Also notice: Layouts after this might contain potential confidential information.</a:t>
            </a:r>
            <a:br>
              <a:rPr lang="en-GB" sz="1800" b="0" noProof="0" dirty="0">
                <a:solidFill>
                  <a:schemeClr val="bg1"/>
                </a:solidFill>
              </a:rPr>
            </a:br>
            <a:endParaRPr lang="en-GB" sz="1800" b="0" noProof="0" dirty="0">
              <a:solidFill>
                <a:schemeClr val="bg1"/>
              </a:solidFill>
            </a:endParaRPr>
          </a:p>
        </p:txBody>
      </p:sp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706505A8-87EA-4BA0-B698-35156BC765D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6F52A3B9-C46E-47C2-A1FB-F5434525BDF4}" type="datetime4">
              <a:rPr lang="en-GB" smtClean="0"/>
              <a:t>19 April 2023</a:t>
            </a:fld>
            <a:endParaRPr lang="en-GB" dirty="0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AB150C2C-2030-498B-8262-6BD5BCCBB34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5" name="Slide Number Placeholder 10" hidden="1">
            <a:extLst>
              <a:ext uri="{FF2B5EF4-FFF2-40B4-BE49-F238E27FC236}">
                <a16:creationId xmlns:a16="http://schemas.microsoft.com/office/drawing/2014/main" id="{E81B246F-92C7-4EF8-ACD0-05F73C7095B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0939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8.xml"/><Relationship Id="rId18" Type="http://schemas.openxmlformats.org/officeDocument/2006/relationships/slideLayout" Target="../slideLayouts/slideLayout63.xml"/><Relationship Id="rId26" Type="http://schemas.openxmlformats.org/officeDocument/2006/relationships/slideLayout" Target="../slideLayouts/slideLayout71.xml"/><Relationship Id="rId39" Type="http://schemas.openxmlformats.org/officeDocument/2006/relationships/slideLayout" Target="../slideLayouts/slideLayout84.xml"/><Relationship Id="rId3" Type="http://schemas.openxmlformats.org/officeDocument/2006/relationships/slideLayout" Target="../slideLayouts/slideLayout48.xml"/><Relationship Id="rId21" Type="http://schemas.openxmlformats.org/officeDocument/2006/relationships/slideLayout" Target="../slideLayouts/slideLayout66.xml"/><Relationship Id="rId34" Type="http://schemas.openxmlformats.org/officeDocument/2006/relationships/slideLayout" Target="../slideLayouts/slideLayout79.xml"/><Relationship Id="rId42" Type="http://schemas.openxmlformats.org/officeDocument/2006/relationships/slideLayout" Target="../slideLayouts/slideLayout87.xml"/><Relationship Id="rId47" Type="http://schemas.openxmlformats.org/officeDocument/2006/relationships/vmlDrawing" Target="../drawings/vmlDrawing1.vml"/><Relationship Id="rId50" Type="http://schemas.openxmlformats.org/officeDocument/2006/relationships/image" Target="../media/image16.emf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17" Type="http://schemas.openxmlformats.org/officeDocument/2006/relationships/slideLayout" Target="../slideLayouts/slideLayout62.xml"/><Relationship Id="rId25" Type="http://schemas.openxmlformats.org/officeDocument/2006/relationships/slideLayout" Target="../slideLayouts/slideLayout70.xml"/><Relationship Id="rId33" Type="http://schemas.openxmlformats.org/officeDocument/2006/relationships/slideLayout" Target="../slideLayouts/slideLayout78.xml"/><Relationship Id="rId38" Type="http://schemas.openxmlformats.org/officeDocument/2006/relationships/slideLayout" Target="../slideLayouts/slideLayout83.xml"/><Relationship Id="rId46" Type="http://schemas.openxmlformats.org/officeDocument/2006/relationships/theme" Target="../theme/theme2.xml"/><Relationship Id="rId2" Type="http://schemas.openxmlformats.org/officeDocument/2006/relationships/slideLayout" Target="../slideLayouts/slideLayout47.xml"/><Relationship Id="rId16" Type="http://schemas.openxmlformats.org/officeDocument/2006/relationships/slideLayout" Target="../slideLayouts/slideLayout61.xml"/><Relationship Id="rId20" Type="http://schemas.openxmlformats.org/officeDocument/2006/relationships/slideLayout" Target="../slideLayouts/slideLayout65.xml"/><Relationship Id="rId29" Type="http://schemas.openxmlformats.org/officeDocument/2006/relationships/slideLayout" Target="../slideLayouts/slideLayout74.xml"/><Relationship Id="rId41" Type="http://schemas.openxmlformats.org/officeDocument/2006/relationships/slideLayout" Target="../slideLayouts/slideLayout86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24" Type="http://schemas.openxmlformats.org/officeDocument/2006/relationships/slideLayout" Target="../slideLayouts/slideLayout69.xml"/><Relationship Id="rId32" Type="http://schemas.openxmlformats.org/officeDocument/2006/relationships/slideLayout" Target="../slideLayouts/slideLayout77.xml"/><Relationship Id="rId37" Type="http://schemas.openxmlformats.org/officeDocument/2006/relationships/slideLayout" Target="../slideLayouts/slideLayout82.xml"/><Relationship Id="rId40" Type="http://schemas.openxmlformats.org/officeDocument/2006/relationships/slideLayout" Target="../slideLayouts/slideLayout85.xml"/><Relationship Id="rId45" Type="http://schemas.openxmlformats.org/officeDocument/2006/relationships/slideLayout" Target="../slideLayouts/slideLayout90.xml"/><Relationship Id="rId5" Type="http://schemas.openxmlformats.org/officeDocument/2006/relationships/slideLayout" Target="../slideLayouts/slideLayout50.xml"/><Relationship Id="rId15" Type="http://schemas.openxmlformats.org/officeDocument/2006/relationships/slideLayout" Target="../slideLayouts/slideLayout60.xml"/><Relationship Id="rId23" Type="http://schemas.openxmlformats.org/officeDocument/2006/relationships/slideLayout" Target="../slideLayouts/slideLayout68.xml"/><Relationship Id="rId28" Type="http://schemas.openxmlformats.org/officeDocument/2006/relationships/slideLayout" Target="../slideLayouts/slideLayout73.xml"/><Relationship Id="rId36" Type="http://schemas.openxmlformats.org/officeDocument/2006/relationships/slideLayout" Target="../slideLayouts/slideLayout81.xml"/><Relationship Id="rId49" Type="http://schemas.openxmlformats.org/officeDocument/2006/relationships/oleObject" Target="../embeddings/oleObject1.bin"/><Relationship Id="rId10" Type="http://schemas.openxmlformats.org/officeDocument/2006/relationships/slideLayout" Target="../slideLayouts/slideLayout55.xml"/><Relationship Id="rId19" Type="http://schemas.openxmlformats.org/officeDocument/2006/relationships/slideLayout" Target="../slideLayouts/slideLayout64.xml"/><Relationship Id="rId31" Type="http://schemas.openxmlformats.org/officeDocument/2006/relationships/slideLayout" Target="../slideLayouts/slideLayout76.xml"/><Relationship Id="rId44" Type="http://schemas.openxmlformats.org/officeDocument/2006/relationships/slideLayout" Target="../slideLayouts/slideLayout89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Relationship Id="rId22" Type="http://schemas.openxmlformats.org/officeDocument/2006/relationships/slideLayout" Target="../slideLayouts/slideLayout67.xml"/><Relationship Id="rId27" Type="http://schemas.openxmlformats.org/officeDocument/2006/relationships/slideLayout" Target="../slideLayouts/slideLayout72.xml"/><Relationship Id="rId30" Type="http://schemas.openxmlformats.org/officeDocument/2006/relationships/slideLayout" Target="../slideLayouts/slideLayout75.xml"/><Relationship Id="rId35" Type="http://schemas.openxmlformats.org/officeDocument/2006/relationships/slideLayout" Target="../slideLayouts/slideLayout80.xml"/><Relationship Id="rId43" Type="http://schemas.openxmlformats.org/officeDocument/2006/relationships/slideLayout" Target="../slideLayouts/slideLayout88.xml"/><Relationship Id="rId48" Type="http://schemas.openxmlformats.org/officeDocument/2006/relationships/tags" Target="../tags/tag1.xml"/><Relationship Id="rId8" Type="http://schemas.openxmlformats.org/officeDocument/2006/relationships/slideLayout" Target="../slideLayouts/slideLayout5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84225" y="481665"/>
            <a:ext cx="10620374" cy="105224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tit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4225" y="1763713"/>
            <a:ext cx="10620375" cy="417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sv-SE" noProof="0" dirty="0" err="1"/>
              <a:t>Click</a:t>
            </a:r>
            <a:r>
              <a:rPr lang="sv-SE" noProof="0" dirty="0"/>
              <a:t> to </a:t>
            </a:r>
            <a:r>
              <a:rPr lang="sv-SE" noProof="0" dirty="0" err="1"/>
              <a:t>add</a:t>
            </a:r>
            <a:r>
              <a:rPr lang="sv-SE" noProof="0" dirty="0"/>
              <a:t> text</a:t>
            </a:r>
          </a:p>
          <a:p>
            <a:pPr lvl="1"/>
            <a:r>
              <a:rPr lang="sv-SE" noProof="0" dirty="0"/>
              <a:t>Second </a:t>
            </a:r>
            <a:r>
              <a:rPr lang="sv-SE" noProof="0" dirty="0" err="1"/>
              <a:t>level</a:t>
            </a:r>
            <a:endParaRPr lang="sv-SE" noProof="0" dirty="0"/>
          </a:p>
          <a:p>
            <a:pPr lvl="2"/>
            <a:r>
              <a:rPr lang="sv-SE" noProof="0" dirty="0" err="1"/>
              <a:t>Thirdlevel</a:t>
            </a:r>
            <a:endParaRPr lang="sv-SE" noProof="0" dirty="0"/>
          </a:p>
          <a:p>
            <a:pPr lvl="3"/>
            <a:r>
              <a:rPr lang="sv-SE" noProof="0" dirty="0" err="1"/>
              <a:t>Fourthlevel</a:t>
            </a:r>
            <a:endParaRPr lang="sv-SE" noProof="0" dirty="0"/>
          </a:p>
          <a:p>
            <a:pPr lvl="4"/>
            <a:r>
              <a:rPr lang="sv-SE" noProof="0" dirty="0" err="1"/>
              <a:t>Fifthlevel</a:t>
            </a:r>
            <a:endParaRPr lang="sv-SE" noProof="0" dirty="0"/>
          </a:p>
          <a:p>
            <a:pPr lvl="5"/>
            <a:r>
              <a:rPr lang="sv-SE" noProof="0" dirty="0" err="1"/>
              <a:t>Sixthlevel</a:t>
            </a:r>
            <a:endParaRPr lang="sv-SE" noProof="0" dirty="0"/>
          </a:p>
          <a:p>
            <a:pPr lvl="6"/>
            <a:r>
              <a:rPr lang="sv-SE" noProof="0" dirty="0" err="1"/>
              <a:t>Seventhlevel</a:t>
            </a:r>
            <a:endParaRPr lang="sv-SE" noProof="0" dirty="0"/>
          </a:p>
          <a:p>
            <a:pPr lvl="7"/>
            <a:r>
              <a:rPr lang="sv-SE" noProof="0" dirty="0" err="1"/>
              <a:t>Eightlevel</a:t>
            </a:r>
            <a:endParaRPr lang="sv-SE" noProof="0" dirty="0"/>
          </a:p>
          <a:p>
            <a:pPr lvl="8"/>
            <a:r>
              <a:rPr lang="sv-SE" noProof="0" dirty="0" err="1"/>
              <a:t>Highlightninthlevel</a:t>
            </a:r>
            <a:endParaRPr lang="sv-SE" noProof="0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2"/>
          </p:nvPr>
        </p:nvSpPr>
        <p:spPr>
          <a:xfrm>
            <a:off x="9568800" y="6351405"/>
            <a:ext cx="1835800" cy="24260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3"/>
          </p:nvPr>
        </p:nvSpPr>
        <p:spPr>
          <a:xfrm>
            <a:off x="4456800" y="6351405"/>
            <a:ext cx="5112000" cy="24241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04600" y="6351405"/>
            <a:ext cx="477736" cy="24241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textruta 11"/>
          <p:cNvSpPr txBox="1"/>
          <p:nvPr userDrawn="1"/>
        </p:nvSpPr>
        <p:spPr>
          <a:xfrm>
            <a:off x="784225" y="6349164"/>
            <a:ext cx="736954" cy="111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800" noProof="1">
                <a:solidFill>
                  <a:schemeClr val="tx1"/>
                </a:solidFill>
                <a:latin typeface="+mn-lt"/>
                <a:cs typeface="Arial" pitchFamily="34" charset="0"/>
              </a:rPr>
              <a:t>© Swedbank</a:t>
            </a:r>
          </a:p>
        </p:txBody>
      </p:sp>
      <p:sp>
        <p:nvSpPr>
          <p:cNvPr id="7" name="text" descr="{&quot;templafy&quot;:{&quot;type&quot;:&quot;text&quot;,&quot;binding&quot;:&quot;Form.InformationClasses.TermInsertPP&quot;}}" title="Form.InformationClasses.TermInsertPP">
            <a:extLst>
              <a:ext uri="{FF2B5EF4-FFF2-40B4-BE49-F238E27FC236}">
                <a16:creationId xmlns:a16="http://schemas.microsoft.com/office/drawing/2014/main" id="{0FD95293-F372-4D75-BB81-E08E19CD07FC}"/>
              </a:ext>
            </a:extLst>
          </p:cNvPr>
          <p:cNvSpPr/>
          <p:nvPr userDrawn="1"/>
        </p:nvSpPr>
        <p:spPr>
          <a:xfrm>
            <a:off x="1825426" y="6347757"/>
            <a:ext cx="936000" cy="248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80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7" name="text" descr="{&quot;templafy&quot;:{&quot;type&quot;:&quot;text&quot;,&quot;binding&quot;:&quot;Form.InformationClasses.RestrictedAccess&quot;}}" title="Form.InformationClasses.RestrictedAccess">
            <a:extLst>
              <a:ext uri="{FF2B5EF4-FFF2-40B4-BE49-F238E27FC236}">
                <a16:creationId xmlns:a16="http://schemas.microsoft.com/office/drawing/2014/main" id="{A050AA09-60F8-480D-8500-001BC7EC54C3}"/>
              </a:ext>
            </a:extLst>
          </p:cNvPr>
          <p:cNvSpPr/>
          <p:nvPr userDrawn="1"/>
        </p:nvSpPr>
        <p:spPr>
          <a:xfrm>
            <a:off x="3054122" y="6348662"/>
            <a:ext cx="1018800" cy="12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spAutoFit/>
          </a:bodyPr>
          <a:lstStyle/>
          <a:p>
            <a:pPr algn="l">
              <a:spcBef>
                <a:spcPts val="600"/>
              </a:spcBef>
            </a:pPr>
            <a:endParaRPr lang="en-GB" sz="800" noProof="0" dirty="0">
              <a:solidFill>
                <a:schemeClr val="tx1"/>
              </a:solidFill>
            </a:endParaRPr>
          </a:p>
        </p:txBody>
      </p:sp>
      <p:sp>
        <p:nvSpPr>
          <p:cNvPr id="18" name="text" descr="{&quot;templafy&quot;:{&quot;type&quot;:&quot;text&quot;,&quot;binding&quot;:&quot;Form.RestrictedAccess&quot;,&quot;visibility&quot;:{&quot;action&quot;:&quot;hide&quot;,&quot;compareValue&quot;:&quot;Confidential&quot;,&quot;binding&quot;:&quot;Form.InformationClasses.Term&quot;,&quot;operator&quot;:&quot;notEquals&quot;}}}" title="Form.RestrictedAccess">
            <a:extLst>
              <a:ext uri="{FF2B5EF4-FFF2-40B4-BE49-F238E27FC236}">
                <a16:creationId xmlns:a16="http://schemas.microsoft.com/office/drawing/2014/main" id="{AEFDC734-1AF9-48F3-85B4-AEFBC795A4F2}"/>
              </a:ext>
            </a:extLst>
          </p:cNvPr>
          <p:cNvSpPr/>
          <p:nvPr userDrawn="1"/>
        </p:nvSpPr>
        <p:spPr>
          <a:xfrm>
            <a:off x="3054122" y="6472800"/>
            <a:ext cx="633600" cy="12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>
            <a:spAutoFit/>
          </a:bodyPr>
          <a:lstStyle/>
          <a:p>
            <a:pPr algn="l">
              <a:spcBef>
                <a:spcPts val="600"/>
              </a:spcBef>
            </a:pPr>
            <a:endParaRPr lang="fr-FR" sz="800" noProof="0" dirty="0">
              <a:solidFill>
                <a:schemeClr val="tx1"/>
              </a:solidFill>
            </a:endParaRPr>
          </a:p>
        </p:txBody>
      </p:sp>
      <p:grpSp>
        <p:nvGrpSpPr>
          <p:cNvPr id="20" name="Gruppe 19" hidden="1">
            <a:extLst>
              <a:ext uri="{FF2B5EF4-FFF2-40B4-BE49-F238E27FC236}">
                <a16:creationId xmlns:a16="http://schemas.microsoft.com/office/drawing/2014/main" id="{2FFC823C-ED16-4EEC-8C27-104A6720A009}"/>
              </a:ext>
            </a:extLst>
          </p:cNvPr>
          <p:cNvGrpSpPr/>
          <p:nvPr userDrawn="1"/>
        </p:nvGrpSpPr>
        <p:grpSpPr>
          <a:xfrm>
            <a:off x="180975" y="0"/>
            <a:ext cx="11830049" cy="898525"/>
            <a:chOff x="180975" y="0"/>
            <a:chExt cx="11830049" cy="898525"/>
          </a:xfrm>
        </p:grpSpPr>
        <p:sp>
          <p:nvSpPr>
            <p:cNvPr id="21" name="Rektangel 20">
              <a:extLst>
                <a:ext uri="{FF2B5EF4-FFF2-40B4-BE49-F238E27FC236}">
                  <a16:creationId xmlns:a16="http://schemas.microsoft.com/office/drawing/2014/main" id="{E04435E2-CE85-4FAE-9DE7-2E3179E249BE}"/>
                </a:ext>
              </a:extLst>
            </p:cNvPr>
            <p:cNvSpPr/>
            <p:nvPr userDrawn="1"/>
          </p:nvSpPr>
          <p:spPr>
            <a:xfrm>
              <a:off x="180975" y="0"/>
              <a:ext cx="603250" cy="89852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en-GB" sz="2000" noProof="0" dirty="0"/>
            </a:p>
          </p:txBody>
        </p:sp>
        <p:sp>
          <p:nvSpPr>
            <p:cNvPr id="22" name="Rektangel 21">
              <a:extLst>
                <a:ext uri="{FF2B5EF4-FFF2-40B4-BE49-F238E27FC236}">
                  <a16:creationId xmlns:a16="http://schemas.microsoft.com/office/drawing/2014/main" id="{C171F185-263B-4CF9-ABDA-AAA68FF5A05D}"/>
                </a:ext>
              </a:extLst>
            </p:cNvPr>
            <p:cNvSpPr/>
            <p:nvPr userDrawn="1"/>
          </p:nvSpPr>
          <p:spPr>
            <a:xfrm>
              <a:off x="2221118" y="0"/>
              <a:ext cx="398257" cy="89852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en-GB" sz="2000" noProof="0" dirty="0"/>
            </a:p>
          </p:txBody>
        </p:sp>
        <p:sp>
          <p:nvSpPr>
            <p:cNvPr id="23" name="Rektangel 22">
              <a:extLst>
                <a:ext uri="{FF2B5EF4-FFF2-40B4-BE49-F238E27FC236}">
                  <a16:creationId xmlns:a16="http://schemas.microsoft.com/office/drawing/2014/main" id="{2D51E9C8-53BB-4A9C-9B0F-9B63EFB127C4}"/>
                </a:ext>
              </a:extLst>
            </p:cNvPr>
            <p:cNvSpPr/>
            <p:nvPr userDrawn="1"/>
          </p:nvSpPr>
          <p:spPr>
            <a:xfrm>
              <a:off x="4059238" y="0"/>
              <a:ext cx="392113" cy="89852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en-GB" sz="2000" noProof="0" dirty="0"/>
            </a:p>
          </p:txBody>
        </p:sp>
        <p:sp>
          <p:nvSpPr>
            <p:cNvPr id="24" name="Rektangel 23">
              <a:extLst>
                <a:ext uri="{FF2B5EF4-FFF2-40B4-BE49-F238E27FC236}">
                  <a16:creationId xmlns:a16="http://schemas.microsoft.com/office/drawing/2014/main" id="{3499B2BA-3C5E-4416-959A-153A344D3CDE}"/>
                </a:ext>
              </a:extLst>
            </p:cNvPr>
            <p:cNvSpPr/>
            <p:nvPr userDrawn="1"/>
          </p:nvSpPr>
          <p:spPr>
            <a:xfrm>
              <a:off x="5899152" y="0"/>
              <a:ext cx="392112" cy="89852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en-GB" sz="2000" noProof="0" dirty="0"/>
            </a:p>
          </p:txBody>
        </p:sp>
        <p:sp>
          <p:nvSpPr>
            <p:cNvPr id="25" name="Rektangel 24">
              <a:extLst>
                <a:ext uri="{FF2B5EF4-FFF2-40B4-BE49-F238E27FC236}">
                  <a16:creationId xmlns:a16="http://schemas.microsoft.com/office/drawing/2014/main" id="{DC597ABD-5988-4519-B53C-5FE947062683}"/>
                </a:ext>
              </a:extLst>
            </p:cNvPr>
            <p:cNvSpPr/>
            <p:nvPr userDrawn="1"/>
          </p:nvSpPr>
          <p:spPr>
            <a:xfrm>
              <a:off x="7735919" y="0"/>
              <a:ext cx="392112" cy="89852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en-GB" sz="2000" noProof="0" dirty="0"/>
            </a:p>
          </p:txBody>
        </p:sp>
        <p:sp>
          <p:nvSpPr>
            <p:cNvPr id="27" name="Rektangel 26">
              <a:extLst>
                <a:ext uri="{FF2B5EF4-FFF2-40B4-BE49-F238E27FC236}">
                  <a16:creationId xmlns:a16="http://schemas.microsoft.com/office/drawing/2014/main" id="{EDB7B368-55C1-45E2-98A6-B3F0928B3296}"/>
                </a:ext>
              </a:extLst>
            </p:cNvPr>
            <p:cNvSpPr/>
            <p:nvPr userDrawn="1"/>
          </p:nvSpPr>
          <p:spPr>
            <a:xfrm>
              <a:off x="9567863" y="0"/>
              <a:ext cx="396936" cy="89852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en-GB" sz="2000" noProof="0" dirty="0"/>
            </a:p>
          </p:txBody>
        </p:sp>
        <p:sp>
          <p:nvSpPr>
            <p:cNvPr id="28" name="Rektangel 27">
              <a:extLst>
                <a:ext uri="{FF2B5EF4-FFF2-40B4-BE49-F238E27FC236}">
                  <a16:creationId xmlns:a16="http://schemas.microsoft.com/office/drawing/2014/main" id="{1152BFE6-F5BF-4766-B6B1-E2CF5591A009}"/>
                </a:ext>
              </a:extLst>
            </p:cNvPr>
            <p:cNvSpPr/>
            <p:nvPr userDrawn="1"/>
          </p:nvSpPr>
          <p:spPr>
            <a:xfrm>
              <a:off x="11405249" y="0"/>
              <a:ext cx="605775" cy="89852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en-GB" sz="2000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829" r:id="rId2"/>
    <p:sldLayoutId id="2147483831" r:id="rId3"/>
    <p:sldLayoutId id="2147483823" r:id="rId4"/>
    <p:sldLayoutId id="2147483753" r:id="rId5"/>
    <p:sldLayoutId id="2147483771" r:id="rId6"/>
    <p:sldLayoutId id="2147483725" r:id="rId7"/>
    <p:sldLayoutId id="2147483762" r:id="rId8"/>
    <p:sldLayoutId id="2147483763" r:id="rId9"/>
    <p:sldLayoutId id="2147483759" r:id="rId10"/>
    <p:sldLayoutId id="2147483761" r:id="rId11"/>
    <p:sldLayoutId id="2147483777" r:id="rId12"/>
    <p:sldLayoutId id="2147483765" r:id="rId13"/>
    <p:sldLayoutId id="2147483787" r:id="rId14"/>
    <p:sldLayoutId id="2147483721" r:id="rId15"/>
    <p:sldLayoutId id="2147483730" r:id="rId16"/>
    <p:sldLayoutId id="2147483822" r:id="rId17"/>
    <p:sldLayoutId id="2147483743" r:id="rId18"/>
    <p:sldLayoutId id="2147483742" r:id="rId19"/>
    <p:sldLayoutId id="2147483772" r:id="rId20"/>
    <p:sldLayoutId id="2147483816" r:id="rId21"/>
    <p:sldLayoutId id="2147483652" r:id="rId22"/>
    <p:sldLayoutId id="2147483832" r:id="rId23"/>
    <p:sldLayoutId id="2147483833" r:id="rId24"/>
    <p:sldLayoutId id="2147483834" r:id="rId25"/>
    <p:sldLayoutId id="2147483811" r:id="rId26"/>
    <p:sldLayoutId id="2147483835" r:id="rId27"/>
    <p:sldLayoutId id="2147483836" r:id="rId28"/>
    <p:sldLayoutId id="2147483814" r:id="rId29"/>
    <p:sldLayoutId id="2147483837" r:id="rId30"/>
    <p:sldLayoutId id="2147483838" r:id="rId31"/>
    <p:sldLayoutId id="2147483733" r:id="rId32"/>
    <p:sldLayoutId id="2147483745" r:id="rId33"/>
    <p:sldLayoutId id="2147483827" r:id="rId34"/>
    <p:sldLayoutId id="2147483790" r:id="rId35"/>
    <p:sldLayoutId id="2147483839" r:id="rId36"/>
    <p:sldLayoutId id="2147483840" r:id="rId37"/>
    <p:sldLayoutId id="2147483660" r:id="rId38"/>
    <p:sldLayoutId id="2147483819" r:id="rId39"/>
    <p:sldLayoutId id="2147483808" r:id="rId40"/>
    <p:sldLayoutId id="2147483820" r:id="rId41"/>
    <p:sldLayoutId id="2147483804" r:id="rId42"/>
    <p:sldLayoutId id="2147483824" r:id="rId43"/>
    <p:sldLayoutId id="2147483749" r:id="rId44"/>
    <p:sldLayoutId id="2147483828" r:id="rId4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rgbClr val="FF5F00"/>
          </a:solidFill>
          <a:latin typeface="+mj-lt"/>
          <a:ea typeface="+mj-ea"/>
          <a:cs typeface="+mj-cs"/>
        </a:defRPr>
      </a:lvl1pPr>
    </p:titleStyle>
    <p:bodyStyle>
      <a:lvl1pPr marL="268288" indent="-268288" algn="l" defTabSz="914400" rtl="0" eaLnBrk="1" latinLnBrk="0" hangingPunct="1">
        <a:lnSpc>
          <a:spcPct val="100000"/>
        </a:lnSpc>
        <a:spcBef>
          <a:spcPts val="800"/>
        </a:spcBef>
        <a:buClr>
          <a:srgbClr val="FF5F00"/>
        </a:buClr>
        <a:buFont typeface="Arial" panose="020B0604020202020204" pitchFamily="34" charset="0"/>
        <a:buChar char="●"/>
        <a:defRPr sz="2200" kern="1200">
          <a:solidFill>
            <a:schemeClr val="tx2"/>
          </a:solidFill>
          <a:latin typeface="+mn-lt"/>
          <a:ea typeface="+mn-ea"/>
          <a:cs typeface="+mn-cs"/>
        </a:defRPr>
      </a:lvl1pPr>
      <a:lvl2pPr marL="525600" indent="-234000" algn="l" defTabSz="914400" rtl="0" eaLnBrk="1" latinLnBrk="0" hangingPunct="1">
        <a:lnSpc>
          <a:spcPct val="100000"/>
        </a:lnSpc>
        <a:spcBef>
          <a:spcPts val="800"/>
        </a:spcBef>
        <a:buClr>
          <a:srgbClr val="FF5F00"/>
        </a:buClr>
        <a:buFont typeface="Arial" panose="020B0604020202020204" pitchFamily="34" charset="0"/>
        <a:buChar char="–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705600" indent="-180000" algn="l" defTabSz="914400" rtl="0" eaLnBrk="1" latinLnBrk="0" hangingPunct="1">
        <a:lnSpc>
          <a:spcPct val="100000"/>
        </a:lnSpc>
        <a:spcBef>
          <a:spcPts val="800"/>
        </a:spcBef>
        <a:buClr>
          <a:srgbClr val="FF5F00"/>
        </a:buClr>
        <a:buFont typeface="Arial" panose="020B0604020202020204" pitchFamily="34" charset="0"/>
        <a:buChar char="●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885600" indent="-180000" algn="l" defTabSz="914400" rtl="0" eaLnBrk="1" latinLnBrk="0" hangingPunct="1">
        <a:lnSpc>
          <a:spcPct val="100000"/>
        </a:lnSpc>
        <a:spcBef>
          <a:spcPts val="800"/>
        </a:spcBef>
        <a:buClr>
          <a:srgbClr val="FF5F00"/>
        </a:buClr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1065600" indent="-180000" algn="l" defTabSz="914400" rtl="0" eaLnBrk="1" latinLnBrk="0" hangingPunct="1">
        <a:lnSpc>
          <a:spcPct val="100000"/>
        </a:lnSpc>
        <a:spcBef>
          <a:spcPts val="800"/>
        </a:spcBef>
        <a:buClr>
          <a:srgbClr val="FF5F00"/>
        </a:buClr>
        <a:buFont typeface="Arial" panose="020B0604020202020204" pitchFamily="34" charset="0"/>
        <a:buChar char="●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1245600" indent="-179388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−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1425600" indent="-18000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●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425600" indent="-18000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●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​"/>
        <a:defRPr sz="2400" kern="1200" baseline="0">
          <a:solidFill>
            <a:srgbClr val="FF5F00"/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14" userDrawn="1">
          <p15:clr>
            <a:srgbClr val="F26B43"/>
          </p15:clr>
        </p15:guide>
        <p15:guide id="5" pos="1399" userDrawn="1">
          <p15:clr>
            <a:srgbClr val="F26B43"/>
          </p15:clr>
        </p15:guide>
        <p15:guide id="6" pos="1650" userDrawn="1">
          <p15:clr>
            <a:srgbClr val="F26B43"/>
          </p15:clr>
        </p15:guide>
        <p15:guide id="7" pos="2570" userDrawn="1">
          <p15:clr>
            <a:srgbClr val="F26B43"/>
          </p15:clr>
        </p15:guide>
        <p15:guide id="8" pos="2804" userDrawn="1">
          <p15:clr>
            <a:srgbClr val="F26B43"/>
          </p15:clr>
        </p15:guide>
        <p15:guide id="9" pos="3716" userDrawn="1">
          <p15:clr>
            <a:srgbClr val="F26B43"/>
          </p15:clr>
        </p15:guide>
        <p15:guide id="10" pos="3963" userDrawn="1">
          <p15:clr>
            <a:srgbClr val="F26B43"/>
          </p15:clr>
        </p15:guide>
        <p15:guide id="11" pos="4873" userDrawn="1">
          <p15:clr>
            <a:srgbClr val="F26B43"/>
          </p15:clr>
        </p15:guide>
        <p15:guide id="12" pos="5120" userDrawn="1">
          <p15:clr>
            <a:srgbClr val="F26B43"/>
          </p15:clr>
        </p15:guide>
        <p15:guide id="13" pos="6027" userDrawn="1">
          <p15:clr>
            <a:srgbClr val="F26B43"/>
          </p15:clr>
        </p15:guide>
        <p15:guide id="16" pos="7565" userDrawn="1">
          <p15:clr>
            <a:srgbClr val="F26B43"/>
          </p15:clr>
        </p15:guide>
        <p15:guide id="17" pos="6278" userDrawn="1">
          <p15:clr>
            <a:srgbClr val="F26B43"/>
          </p15:clr>
        </p15:guide>
        <p15:guide id="18" orient="horz" pos="303" userDrawn="1">
          <p15:clr>
            <a:srgbClr val="F26B43"/>
          </p15:clr>
        </p15:guide>
        <p15:guide id="19" orient="horz" pos="966" userDrawn="1">
          <p15:clr>
            <a:srgbClr val="F26B43"/>
          </p15:clr>
        </p15:guide>
        <p15:guide id="20" pos="493" userDrawn="1">
          <p15:clr>
            <a:srgbClr val="F26B43"/>
          </p15:clr>
        </p15:guide>
        <p15:guide id="21" pos="7185" userDrawn="1">
          <p15:clr>
            <a:srgbClr val="F26B43"/>
          </p15:clr>
        </p15:guide>
        <p15:guide id="22" orient="horz" pos="1111" userDrawn="1">
          <p15:clr>
            <a:srgbClr val="F26B43"/>
          </p15:clr>
        </p15:guide>
        <p15:guide id="23" orient="horz" pos="3741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A5022AC2-2738-4888-856C-765DE7E4DE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8"/>
            </p:custDataLst>
            <p:extLst>
              <p:ext uri="{D42A27DB-BD31-4B8C-83A1-F6EECF244321}">
                <p14:modId xmlns:p14="http://schemas.microsoft.com/office/powerpoint/2010/main" val="424694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" name="think-cell Slide" r:id="rId49" imgW="473" imgH="473" progId="TCLayout.ActiveDocument.1">
                  <p:embed/>
                </p:oleObj>
              </mc:Choice>
              <mc:Fallback>
                <p:oleObj name="think-cell Slide" r:id="rId49" imgW="473" imgH="47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A5022AC2-2738-4888-856C-765DE7E4DE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84225" y="481665"/>
            <a:ext cx="10620374" cy="105224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tit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4225" y="1763713"/>
            <a:ext cx="10620375" cy="417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sv-SE" noProof="0" dirty="0" err="1"/>
              <a:t>Click</a:t>
            </a:r>
            <a:r>
              <a:rPr lang="sv-SE" noProof="0" dirty="0"/>
              <a:t> to </a:t>
            </a:r>
            <a:r>
              <a:rPr lang="sv-SE" noProof="0" dirty="0" err="1"/>
              <a:t>add</a:t>
            </a:r>
            <a:r>
              <a:rPr lang="sv-SE" noProof="0" dirty="0"/>
              <a:t> text</a:t>
            </a:r>
          </a:p>
          <a:p>
            <a:pPr lvl="1"/>
            <a:r>
              <a:rPr lang="sv-SE" noProof="0" dirty="0"/>
              <a:t>Second </a:t>
            </a:r>
            <a:r>
              <a:rPr lang="sv-SE" noProof="0" dirty="0" err="1"/>
              <a:t>level</a:t>
            </a:r>
            <a:endParaRPr lang="sv-SE" noProof="0" dirty="0"/>
          </a:p>
          <a:p>
            <a:pPr lvl="2"/>
            <a:r>
              <a:rPr lang="sv-SE" noProof="0" dirty="0" err="1"/>
              <a:t>Thirdlevel</a:t>
            </a:r>
            <a:endParaRPr lang="sv-SE" noProof="0" dirty="0"/>
          </a:p>
          <a:p>
            <a:pPr lvl="3"/>
            <a:r>
              <a:rPr lang="sv-SE" noProof="0" dirty="0" err="1"/>
              <a:t>Fourthlevel</a:t>
            </a:r>
            <a:endParaRPr lang="sv-SE" noProof="0" dirty="0"/>
          </a:p>
          <a:p>
            <a:pPr lvl="4"/>
            <a:r>
              <a:rPr lang="sv-SE" noProof="0" dirty="0" err="1"/>
              <a:t>Fifthlevel</a:t>
            </a:r>
            <a:endParaRPr lang="sv-SE" noProof="0" dirty="0"/>
          </a:p>
          <a:p>
            <a:pPr lvl="5"/>
            <a:r>
              <a:rPr lang="sv-SE" noProof="0" dirty="0" err="1"/>
              <a:t>Sixthlevel</a:t>
            </a:r>
            <a:endParaRPr lang="sv-SE" noProof="0" dirty="0"/>
          </a:p>
          <a:p>
            <a:pPr lvl="6"/>
            <a:r>
              <a:rPr lang="sv-SE" noProof="0" dirty="0" err="1"/>
              <a:t>Seventhlevel</a:t>
            </a:r>
            <a:endParaRPr lang="sv-SE" noProof="0" dirty="0"/>
          </a:p>
          <a:p>
            <a:pPr lvl="7"/>
            <a:r>
              <a:rPr lang="sv-SE" noProof="0" dirty="0" err="1"/>
              <a:t>Eightlevel</a:t>
            </a:r>
            <a:endParaRPr lang="sv-SE" noProof="0" dirty="0"/>
          </a:p>
          <a:p>
            <a:pPr lvl="8"/>
            <a:r>
              <a:rPr lang="sv-SE" noProof="0" dirty="0" err="1"/>
              <a:t>Highlightninthlevel</a:t>
            </a:r>
            <a:endParaRPr lang="sv-SE" noProof="0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2"/>
          </p:nvPr>
        </p:nvSpPr>
        <p:spPr>
          <a:xfrm>
            <a:off x="9568800" y="6351405"/>
            <a:ext cx="1835800" cy="24260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3"/>
          </p:nvPr>
        </p:nvSpPr>
        <p:spPr>
          <a:xfrm>
            <a:off x="4456800" y="6351405"/>
            <a:ext cx="5112000" cy="24241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04600" y="6351405"/>
            <a:ext cx="477736" cy="24241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textruta 11"/>
          <p:cNvSpPr txBox="1"/>
          <p:nvPr userDrawn="1"/>
        </p:nvSpPr>
        <p:spPr>
          <a:xfrm>
            <a:off x="784225" y="6349164"/>
            <a:ext cx="736954" cy="111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800" noProof="1">
                <a:solidFill>
                  <a:schemeClr val="tx1"/>
                </a:solidFill>
                <a:latin typeface="+mn-lt"/>
                <a:cs typeface="Arial" pitchFamily="34" charset="0"/>
              </a:rPr>
              <a:t>© Swedbank</a:t>
            </a:r>
          </a:p>
        </p:txBody>
      </p:sp>
      <p:sp>
        <p:nvSpPr>
          <p:cNvPr id="7" name="text" descr="{&quot;templafy&quot;:{&quot;type&quot;:&quot;text&quot;,&quot;binding&quot;:&quot;Form.InformationClasses.TermInsertPP&quot;}}" title="Form.InformationClasses.TermInsertPP">
            <a:extLst>
              <a:ext uri="{FF2B5EF4-FFF2-40B4-BE49-F238E27FC236}">
                <a16:creationId xmlns:a16="http://schemas.microsoft.com/office/drawing/2014/main" id="{0FD95293-F372-4D75-BB81-E08E19CD07FC}"/>
              </a:ext>
            </a:extLst>
          </p:cNvPr>
          <p:cNvSpPr/>
          <p:nvPr userDrawn="1"/>
        </p:nvSpPr>
        <p:spPr>
          <a:xfrm>
            <a:off x="1825426" y="6347757"/>
            <a:ext cx="936000" cy="248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80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7" name="text" descr="{&quot;templafy&quot;:{&quot;type&quot;:&quot;text&quot;,&quot;binding&quot;:&quot;Form.InformationClasses.RestrictedAccess&quot;}}" title="Form.InformationClasses.RestrictedAccess">
            <a:extLst>
              <a:ext uri="{FF2B5EF4-FFF2-40B4-BE49-F238E27FC236}">
                <a16:creationId xmlns:a16="http://schemas.microsoft.com/office/drawing/2014/main" id="{A050AA09-60F8-480D-8500-001BC7EC54C3}"/>
              </a:ext>
            </a:extLst>
          </p:cNvPr>
          <p:cNvSpPr/>
          <p:nvPr userDrawn="1"/>
        </p:nvSpPr>
        <p:spPr>
          <a:xfrm>
            <a:off x="3054122" y="6348662"/>
            <a:ext cx="1018800" cy="12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spAutoFit/>
          </a:bodyPr>
          <a:lstStyle/>
          <a:p>
            <a:pPr algn="l">
              <a:spcBef>
                <a:spcPts val="600"/>
              </a:spcBef>
            </a:pPr>
            <a:endParaRPr lang="en-GB" sz="800" noProof="0" dirty="0">
              <a:solidFill>
                <a:schemeClr val="tx1"/>
              </a:solidFill>
            </a:endParaRPr>
          </a:p>
        </p:txBody>
      </p:sp>
      <p:sp>
        <p:nvSpPr>
          <p:cNvPr id="18" name="text" descr="{&quot;templafy&quot;:{&quot;type&quot;:&quot;text&quot;,&quot;binding&quot;:&quot;Form.RestrictedAccess&quot;,&quot;visibility&quot;:{&quot;action&quot;:&quot;hide&quot;,&quot;compareValue&quot;:&quot;Confidential&quot;,&quot;binding&quot;:&quot;Form.InformationClasses.Term&quot;,&quot;operator&quot;:&quot;notEquals&quot;}}}" title="Form.RestrictedAccess">
            <a:extLst>
              <a:ext uri="{FF2B5EF4-FFF2-40B4-BE49-F238E27FC236}">
                <a16:creationId xmlns:a16="http://schemas.microsoft.com/office/drawing/2014/main" id="{AEFDC734-1AF9-48F3-85B4-AEFBC795A4F2}"/>
              </a:ext>
            </a:extLst>
          </p:cNvPr>
          <p:cNvSpPr/>
          <p:nvPr userDrawn="1"/>
        </p:nvSpPr>
        <p:spPr>
          <a:xfrm>
            <a:off x="3054122" y="6472800"/>
            <a:ext cx="633600" cy="12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>
            <a:spAutoFit/>
          </a:bodyPr>
          <a:lstStyle/>
          <a:p>
            <a:pPr algn="l">
              <a:spcBef>
                <a:spcPts val="600"/>
              </a:spcBef>
            </a:pPr>
            <a:endParaRPr lang="fr-FR" sz="800" noProof="0" dirty="0">
              <a:solidFill>
                <a:schemeClr val="tx1"/>
              </a:solidFill>
            </a:endParaRPr>
          </a:p>
        </p:txBody>
      </p:sp>
      <p:grpSp>
        <p:nvGrpSpPr>
          <p:cNvPr id="20" name="Gruppe 19" hidden="1">
            <a:extLst>
              <a:ext uri="{FF2B5EF4-FFF2-40B4-BE49-F238E27FC236}">
                <a16:creationId xmlns:a16="http://schemas.microsoft.com/office/drawing/2014/main" id="{2FFC823C-ED16-4EEC-8C27-104A6720A009}"/>
              </a:ext>
            </a:extLst>
          </p:cNvPr>
          <p:cNvGrpSpPr/>
          <p:nvPr userDrawn="1"/>
        </p:nvGrpSpPr>
        <p:grpSpPr>
          <a:xfrm>
            <a:off x="180975" y="0"/>
            <a:ext cx="11830049" cy="898525"/>
            <a:chOff x="180975" y="0"/>
            <a:chExt cx="11830049" cy="898525"/>
          </a:xfrm>
        </p:grpSpPr>
        <p:sp>
          <p:nvSpPr>
            <p:cNvPr id="21" name="Rektangel 20">
              <a:extLst>
                <a:ext uri="{FF2B5EF4-FFF2-40B4-BE49-F238E27FC236}">
                  <a16:creationId xmlns:a16="http://schemas.microsoft.com/office/drawing/2014/main" id="{E04435E2-CE85-4FAE-9DE7-2E3179E249BE}"/>
                </a:ext>
              </a:extLst>
            </p:cNvPr>
            <p:cNvSpPr/>
            <p:nvPr userDrawn="1"/>
          </p:nvSpPr>
          <p:spPr>
            <a:xfrm>
              <a:off x="180975" y="0"/>
              <a:ext cx="603250" cy="89852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en-GB" sz="2000" noProof="0" dirty="0" err="1"/>
            </a:p>
          </p:txBody>
        </p:sp>
        <p:sp>
          <p:nvSpPr>
            <p:cNvPr id="22" name="Rektangel 21">
              <a:extLst>
                <a:ext uri="{FF2B5EF4-FFF2-40B4-BE49-F238E27FC236}">
                  <a16:creationId xmlns:a16="http://schemas.microsoft.com/office/drawing/2014/main" id="{C171F185-263B-4CF9-ABDA-AAA68FF5A05D}"/>
                </a:ext>
              </a:extLst>
            </p:cNvPr>
            <p:cNvSpPr/>
            <p:nvPr userDrawn="1"/>
          </p:nvSpPr>
          <p:spPr>
            <a:xfrm>
              <a:off x="2221118" y="0"/>
              <a:ext cx="398257" cy="89852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en-GB" sz="2000" noProof="0" dirty="0" err="1"/>
            </a:p>
          </p:txBody>
        </p:sp>
        <p:sp>
          <p:nvSpPr>
            <p:cNvPr id="23" name="Rektangel 22">
              <a:extLst>
                <a:ext uri="{FF2B5EF4-FFF2-40B4-BE49-F238E27FC236}">
                  <a16:creationId xmlns:a16="http://schemas.microsoft.com/office/drawing/2014/main" id="{2D51E9C8-53BB-4A9C-9B0F-9B63EFB127C4}"/>
                </a:ext>
              </a:extLst>
            </p:cNvPr>
            <p:cNvSpPr/>
            <p:nvPr userDrawn="1"/>
          </p:nvSpPr>
          <p:spPr>
            <a:xfrm>
              <a:off x="4059238" y="0"/>
              <a:ext cx="392113" cy="89852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en-GB" sz="2000" noProof="0" dirty="0" err="1"/>
            </a:p>
          </p:txBody>
        </p:sp>
        <p:sp>
          <p:nvSpPr>
            <p:cNvPr id="24" name="Rektangel 23">
              <a:extLst>
                <a:ext uri="{FF2B5EF4-FFF2-40B4-BE49-F238E27FC236}">
                  <a16:creationId xmlns:a16="http://schemas.microsoft.com/office/drawing/2014/main" id="{3499B2BA-3C5E-4416-959A-153A344D3CDE}"/>
                </a:ext>
              </a:extLst>
            </p:cNvPr>
            <p:cNvSpPr/>
            <p:nvPr userDrawn="1"/>
          </p:nvSpPr>
          <p:spPr>
            <a:xfrm>
              <a:off x="5899152" y="0"/>
              <a:ext cx="392112" cy="89852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en-GB" sz="2000" noProof="0" dirty="0" err="1"/>
            </a:p>
          </p:txBody>
        </p:sp>
        <p:sp>
          <p:nvSpPr>
            <p:cNvPr id="25" name="Rektangel 24">
              <a:extLst>
                <a:ext uri="{FF2B5EF4-FFF2-40B4-BE49-F238E27FC236}">
                  <a16:creationId xmlns:a16="http://schemas.microsoft.com/office/drawing/2014/main" id="{DC597ABD-5988-4519-B53C-5FE947062683}"/>
                </a:ext>
              </a:extLst>
            </p:cNvPr>
            <p:cNvSpPr/>
            <p:nvPr userDrawn="1"/>
          </p:nvSpPr>
          <p:spPr>
            <a:xfrm>
              <a:off x="7735919" y="0"/>
              <a:ext cx="392112" cy="89852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en-GB" sz="2000" noProof="0" dirty="0" err="1"/>
            </a:p>
          </p:txBody>
        </p:sp>
        <p:sp>
          <p:nvSpPr>
            <p:cNvPr id="27" name="Rektangel 26">
              <a:extLst>
                <a:ext uri="{FF2B5EF4-FFF2-40B4-BE49-F238E27FC236}">
                  <a16:creationId xmlns:a16="http://schemas.microsoft.com/office/drawing/2014/main" id="{EDB7B368-55C1-45E2-98A6-B3F0928B3296}"/>
                </a:ext>
              </a:extLst>
            </p:cNvPr>
            <p:cNvSpPr/>
            <p:nvPr userDrawn="1"/>
          </p:nvSpPr>
          <p:spPr>
            <a:xfrm>
              <a:off x="9567863" y="0"/>
              <a:ext cx="396936" cy="89852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en-GB" sz="2000" noProof="0" dirty="0" err="1"/>
            </a:p>
          </p:txBody>
        </p:sp>
        <p:sp>
          <p:nvSpPr>
            <p:cNvPr id="28" name="Rektangel 27">
              <a:extLst>
                <a:ext uri="{FF2B5EF4-FFF2-40B4-BE49-F238E27FC236}">
                  <a16:creationId xmlns:a16="http://schemas.microsoft.com/office/drawing/2014/main" id="{1152BFE6-F5BF-4766-B6B1-E2CF5591A009}"/>
                </a:ext>
              </a:extLst>
            </p:cNvPr>
            <p:cNvSpPr/>
            <p:nvPr userDrawn="1"/>
          </p:nvSpPr>
          <p:spPr>
            <a:xfrm>
              <a:off x="11405249" y="0"/>
              <a:ext cx="605775" cy="89852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en-GB" sz="2000" noProof="0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24054433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2" r:id="rId1"/>
    <p:sldLayoutId id="2147483843" r:id="rId2"/>
    <p:sldLayoutId id="2147483844" r:id="rId3"/>
    <p:sldLayoutId id="2147483845" r:id="rId4"/>
    <p:sldLayoutId id="2147483846" r:id="rId5"/>
    <p:sldLayoutId id="2147483847" r:id="rId6"/>
    <p:sldLayoutId id="2147483848" r:id="rId7"/>
    <p:sldLayoutId id="2147483849" r:id="rId8"/>
    <p:sldLayoutId id="2147483850" r:id="rId9"/>
    <p:sldLayoutId id="2147483851" r:id="rId10"/>
    <p:sldLayoutId id="2147483852" r:id="rId11"/>
    <p:sldLayoutId id="2147483853" r:id="rId12"/>
    <p:sldLayoutId id="2147483854" r:id="rId13"/>
    <p:sldLayoutId id="2147483855" r:id="rId14"/>
    <p:sldLayoutId id="2147483856" r:id="rId15"/>
    <p:sldLayoutId id="2147483857" r:id="rId16"/>
    <p:sldLayoutId id="2147483858" r:id="rId17"/>
    <p:sldLayoutId id="2147483859" r:id="rId18"/>
    <p:sldLayoutId id="2147483860" r:id="rId19"/>
    <p:sldLayoutId id="2147483861" r:id="rId20"/>
    <p:sldLayoutId id="2147483862" r:id="rId21"/>
    <p:sldLayoutId id="2147483863" r:id="rId22"/>
    <p:sldLayoutId id="2147483864" r:id="rId23"/>
    <p:sldLayoutId id="2147483865" r:id="rId24"/>
    <p:sldLayoutId id="2147483866" r:id="rId25"/>
    <p:sldLayoutId id="2147483867" r:id="rId26"/>
    <p:sldLayoutId id="2147483868" r:id="rId27"/>
    <p:sldLayoutId id="2147483869" r:id="rId28"/>
    <p:sldLayoutId id="2147483870" r:id="rId29"/>
    <p:sldLayoutId id="2147483871" r:id="rId30"/>
    <p:sldLayoutId id="2147483872" r:id="rId31"/>
    <p:sldLayoutId id="2147483873" r:id="rId32"/>
    <p:sldLayoutId id="2147483874" r:id="rId33"/>
    <p:sldLayoutId id="2147483875" r:id="rId34"/>
    <p:sldLayoutId id="2147483876" r:id="rId35"/>
    <p:sldLayoutId id="2147483877" r:id="rId36"/>
    <p:sldLayoutId id="2147483878" r:id="rId37"/>
    <p:sldLayoutId id="2147483879" r:id="rId38"/>
    <p:sldLayoutId id="2147483880" r:id="rId39"/>
    <p:sldLayoutId id="2147483881" r:id="rId40"/>
    <p:sldLayoutId id="2147483882" r:id="rId41"/>
    <p:sldLayoutId id="2147483883" r:id="rId42"/>
    <p:sldLayoutId id="2147483884" r:id="rId43"/>
    <p:sldLayoutId id="2147483885" r:id="rId44"/>
    <p:sldLayoutId id="2147483886" r:id="rId4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rgbClr val="FF5F00"/>
          </a:solidFill>
          <a:latin typeface="+mj-lt"/>
          <a:ea typeface="+mj-ea"/>
          <a:cs typeface="+mj-cs"/>
        </a:defRPr>
      </a:lvl1pPr>
    </p:titleStyle>
    <p:bodyStyle>
      <a:lvl1pPr marL="268288" indent="-268288" algn="l" defTabSz="914400" rtl="0" eaLnBrk="1" latinLnBrk="0" hangingPunct="1">
        <a:lnSpc>
          <a:spcPct val="100000"/>
        </a:lnSpc>
        <a:spcBef>
          <a:spcPts val="800"/>
        </a:spcBef>
        <a:buClr>
          <a:srgbClr val="FF5F00"/>
        </a:buClr>
        <a:buFont typeface="Arial" panose="020B0604020202020204" pitchFamily="34" charset="0"/>
        <a:buChar char="●"/>
        <a:defRPr sz="2200" kern="1200">
          <a:solidFill>
            <a:schemeClr val="tx2"/>
          </a:solidFill>
          <a:latin typeface="+mn-lt"/>
          <a:ea typeface="+mn-ea"/>
          <a:cs typeface="+mn-cs"/>
        </a:defRPr>
      </a:lvl1pPr>
      <a:lvl2pPr marL="525600" indent="-234000" algn="l" defTabSz="914400" rtl="0" eaLnBrk="1" latinLnBrk="0" hangingPunct="1">
        <a:lnSpc>
          <a:spcPct val="100000"/>
        </a:lnSpc>
        <a:spcBef>
          <a:spcPts val="800"/>
        </a:spcBef>
        <a:buClr>
          <a:srgbClr val="FF5F00"/>
        </a:buClr>
        <a:buFont typeface="Arial" panose="020B0604020202020204" pitchFamily="34" charset="0"/>
        <a:buChar char="–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705600" indent="-180000" algn="l" defTabSz="914400" rtl="0" eaLnBrk="1" latinLnBrk="0" hangingPunct="1">
        <a:lnSpc>
          <a:spcPct val="100000"/>
        </a:lnSpc>
        <a:spcBef>
          <a:spcPts val="800"/>
        </a:spcBef>
        <a:buClr>
          <a:srgbClr val="FF5F00"/>
        </a:buClr>
        <a:buFont typeface="Arial" panose="020B0604020202020204" pitchFamily="34" charset="0"/>
        <a:buChar char="●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885600" indent="-180000" algn="l" defTabSz="914400" rtl="0" eaLnBrk="1" latinLnBrk="0" hangingPunct="1">
        <a:lnSpc>
          <a:spcPct val="100000"/>
        </a:lnSpc>
        <a:spcBef>
          <a:spcPts val="800"/>
        </a:spcBef>
        <a:buClr>
          <a:srgbClr val="FF5F00"/>
        </a:buClr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1065600" indent="-180000" algn="l" defTabSz="914400" rtl="0" eaLnBrk="1" latinLnBrk="0" hangingPunct="1">
        <a:lnSpc>
          <a:spcPct val="100000"/>
        </a:lnSpc>
        <a:spcBef>
          <a:spcPts val="800"/>
        </a:spcBef>
        <a:buClr>
          <a:srgbClr val="FF5F00"/>
        </a:buClr>
        <a:buFont typeface="Arial" panose="020B0604020202020204" pitchFamily="34" charset="0"/>
        <a:buChar char="●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1245600" indent="-179388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−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1425600" indent="-18000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●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425600" indent="-18000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●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​"/>
        <a:defRPr sz="2400" kern="1200" baseline="0">
          <a:solidFill>
            <a:srgbClr val="FF5F00"/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14">
          <p15:clr>
            <a:srgbClr val="F26B43"/>
          </p15:clr>
        </p15:guide>
        <p15:guide id="5" pos="1399">
          <p15:clr>
            <a:srgbClr val="F26B43"/>
          </p15:clr>
        </p15:guide>
        <p15:guide id="6" pos="1650">
          <p15:clr>
            <a:srgbClr val="F26B43"/>
          </p15:clr>
        </p15:guide>
        <p15:guide id="7" pos="2570">
          <p15:clr>
            <a:srgbClr val="F26B43"/>
          </p15:clr>
        </p15:guide>
        <p15:guide id="8" pos="2804">
          <p15:clr>
            <a:srgbClr val="F26B43"/>
          </p15:clr>
        </p15:guide>
        <p15:guide id="9" pos="3716">
          <p15:clr>
            <a:srgbClr val="F26B43"/>
          </p15:clr>
        </p15:guide>
        <p15:guide id="10" pos="3963">
          <p15:clr>
            <a:srgbClr val="F26B43"/>
          </p15:clr>
        </p15:guide>
        <p15:guide id="11" pos="4873">
          <p15:clr>
            <a:srgbClr val="F26B43"/>
          </p15:clr>
        </p15:guide>
        <p15:guide id="12" pos="5120">
          <p15:clr>
            <a:srgbClr val="F26B43"/>
          </p15:clr>
        </p15:guide>
        <p15:guide id="13" pos="6027">
          <p15:clr>
            <a:srgbClr val="F26B43"/>
          </p15:clr>
        </p15:guide>
        <p15:guide id="16" pos="7565">
          <p15:clr>
            <a:srgbClr val="F26B43"/>
          </p15:clr>
        </p15:guide>
        <p15:guide id="17" pos="6278">
          <p15:clr>
            <a:srgbClr val="F26B43"/>
          </p15:clr>
        </p15:guide>
        <p15:guide id="18" orient="horz" pos="303">
          <p15:clr>
            <a:srgbClr val="F26B43"/>
          </p15:clr>
        </p15:guide>
        <p15:guide id="19" orient="horz" pos="966">
          <p15:clr>
            <a:srgbClr val="F26B43"/>
          </p15:clr>
        </p15:guide>
        <p15:guide id="20" pos="493">
          <p15:clr>
            <a:srgbClr val="F26B43"/>
          </p15:clr>
        </p15:guide>
        <p15:guide id="21" pos="7185">
          <p15:clr>
            <a:srgbClr val="F26B43"/>
          </p15:clr>
        </p15:guide>
        <p15:guide id="22" orient="horz" pos="1111">
          <p15:clr>
            <a:srgbClr val="F26B43"/>
          </p15:clr>
        </p15:guide>
        <p15:guide id="23" orient="horz" pos="374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B6F123-1BE9-4ADE-B65E-10B07AD7A7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t-EE" dirty="0"/>
              <a:t>EE Q1 in </a:t>
            </a:r>
            <a:r>
              <a:rPr lang="et-EE" dirty="0" err="1"/>
              <a:t>media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0B8F985-B1E7-4660-9177-42B27890E0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88E4BB8-C2B2-435F-BD3F-FA8589B06D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CD48CF-626E-458F-9E08-CA07038173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4AB8E6-5848-4772-88E2-313F2628AF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00306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itle 6">
            <a:extLst>
              <a:ext uri="{FF2B5EF4-FFF2-40B4-BE49-F238E27FC236}">
                <a16:creationId xmlns:a16="http://schemas.microsoft.com/office/drawing/2014/main" id="{4F8795EA-3B2F-432E-8F75-0ECF59772D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4224" y="481665"/>
            <a:ext cx="10620375" cy="1052240"/>
          </a:xfrm>
        </p:spPr>
        <p:txBody>
          <a:bodyPr anchor="t">
            <a:normAutofit/>
          </a:bodyPr>
          <a:lstStyle/>
          <a:p>
            <a:r>
              <a:rPr lang="et-EE" dirty="0"/>
              <a:t>EE SOV Q1: 31,07%, in </a:t>
            </a:r>
            <a:r>
              <a:rPr lang="et-EE" dirty="0" err="1"/>
              <a:t>March</a:t>
            </a:r>
            <a:r>
              <a:rPr lang="et-EE" dirty="0"/>
              <a:t> 34,9%</a:t>
            </a:r>
            <a:endParaRPr lang="en-GB" dirty="0"/>
          </a:p>
        </p:txBody>
      </p:sp>
      <p:sp>
        <p:nvSpPr>
          <p:cNvPr id="50" name="Date Placeholder 3">
            <a:extLst>
              <a:ext uri="{FF2B5EF4-FFF2-40B4-BE49-F238E27FC236}">
                <a16:creationId xmlns:a16="http://schemas.microsoft.com/office/drawing/2014/main" id="{107A71DA-FF80-1F78-6437-D057C9517FE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568800" y="6351405"/>
            <a:ext cx="1835800" cy="242607"/>
          </a:xfrm>
        </p:spPr>
        <p:txBody>
          <a:bodyPr/>
          <a:lstStyle/>
          <a:p>
            <a:endParaRPr lang="en-GB" noProof="0"/>
          </a:p>
        </p:txBody>
      </p:sp>
      <p:sp>
        <p:nvSpPr>
          <p:cNvPr id="51" name="Footer Placeholder 4">
            <a:extLst>
              <a:ext uri="{FF2B5EF4-FFF2-40B4-BE49-F238E27FC236}">
                <a16:creationId xmlns:a16="http://schemas.microsoft.com/office/drawing/2014/main" id="{DCEC9746-4D6E-AB3F-47A5-5564A5628D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56800" y="6351405"/>
            <a:ext cx="5112000" cy="242418"/>
          </a:xfrm>
        </p:spPr>
        <p:txBody>
          <a:bodyPr/>
          <a:lstStyle/>
          <a:p>
            <a:endParaRPr lang="en-GB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98FB878-6A12-4872-8E25-210E36414C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04600" y="6351405"/>
            <a:ext cx="477736" cy="242418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24C8C45C-947F-4981-8B3F-4F32E973C901}" type="slidenum">
              <a:rPr lang="en-GB" smtClean="0"/>
              <a:pPr>
                <a:spcAft>
                  <a:spcPts val="600"/>
                </a:spcAft>
              </a:pPr>
              <a:t>2</a:t>
            </a:fld>
            <a:endParaRPr lang="en-GB"/>
          </a:p>
        </p:txBody>
      </p:sp>
      <p:pic>
        <p:nvPicPr>
          <p:cNvPr id="7" name="Picture 6" descr="A picture containing text, screenshot, circle, graphics&#10;&#10;Description automatically generated">
            <a:extLst>
              <a:ext uri="{FF2B5EF4-FFF2-40B4-BE49-F238E27FC236}">
                <a16:creationId xmlns:a16="http://schemas.microsoft.com/office/drawing/2014/main" id="{292AB73A-DA96-4B37-8749-EC319665DD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29245" y="1007785"/>
            <a:ext cx="7656186" cy="4550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672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355C76-268E-4DF0-8C29-FC8C16880A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t-EE" dirty="0" err="1"/>
              <a:t>Most</a:t>
            </a:r>
            <a:r>
              <a:rPr lang="et-EE" dirty="0"/>
              <a:t> </a:t>
            </a:r>
            <a:r>
              <a:rPr lang="et-EE" dirty="0" err="1"/>
              <a:t>popular</a:t>
            </a:r>
            <a:r>
              <a:rPr lang="et-EE" dirty="0"/>
              <a:t> </a:t>
            </a:r>
            <a:r>
              <a:rPr lang="et-EE" dirty="0" err="1"/>
              <a:t>topics</a:t>
            </a:r>
            <a:r>
              <a:rPr lang="et-EE" dirty="0"/>
              <a:t>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6048F0-9DD2-43AD-924B-62F37F6C60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4224" y="1240971"/>
            <a:ext cx="10621963" cy="4963886"/>
          </a:xfrm>
        </p:spPr>
        <p:txBody>
          <a:bodyPr/>
          <a:lstStyle/>
          <a:p>
            <a:r>
              <a:rPr lang="et-EE" b="1" dirty="0" err="1">
                <a:solidFill>
                  <a:schemeClr val="accent1"/>
                </a:solidFill>
              </a:rPr>
              <a:t>March</a:t>
            </a:r>
            <a:br>
              <a:rPr lang="et-EE" dirty="0">
                <a:solidFill>
                  <a:schemeClr val="accent1"/>
                </a:solidFill>
              </a:rPr>
            </a:br>
            <a:r>
              <a:rPr lang="et-EE" dirty="0">
                <a:solidFill>
                  <a:schemeClr val="accent1"/>
                </a:solidFill>
              </a:rPr>
              <a:t>Rapid </a:t>
            </a:r>
            <a:r>
              <a:rPr lang="et-EE" dirty="0" err="1">
                <a:solidFill>
                  <a:schemeClr val="accent1"/>
                </a:solidFill>
              </a:rPr>
              <a:t>salary</a:t>
            </a:r>
            <a:r>
              <a:rPr lang="et-EE" dirty="0">
                <a:solidFill>
                  <a:schemeClr val="accent1"/>
                </a:solidFill>
              </a:rPr>
              <a:t> </a:t>
            </a:r>
            <a:r>
              <a:rPr lang="et-EE" dirty="0" err="1">
                <a:solidFill>
                  <a:schemeClr val="accent1"/>
                </a:solidFill>
              </a:rPr>
              <a:t>growth</a:t>
            </a:r>
            <a:r>
              <a:rPr lang="et-EE" dirty="0">
                <a:solidFill>
                  <a:schemeClr val="accent1"/>
                </a:solidFill>
              </a:rPr>
              <a:t> </a:t>
            </a:r>
            <a:r>
              <a:rPr lang="et-EE" dirty="0" err="1">
                <a:solidFill>
                  <a:schemeClr val="accent1"/>
                </a:solidFill>
              </a:rPr>
              <a:t>continues</a:t>
            </a:r>
            <a:br>
              <a:rPr lang="et-EE" dirty="0">
                <a:solidFill>
                  <a:schemeClr val="accent1"/>
                </a:solidFill>
              </a:rPr>
            </a:br>
            <a:r>
              <a:rPr lang="et-EE" dirty="0">
                <a:solidFill>
                  <a:schemeClr val="accent1"/>
                </a:solidFill>
              </a:rPr>
              <a:t>The </a:t>
            </a:r>
            <a:r>
              <a:rPr lang="et-EE" dirty="0" err="1">
                <a:solidFill>
                  <a:schemeClr val="accent1"/>
                </a:solidFill>
              </a:rPr>
              <a:t>financial</a:t>
            </a:r>
            <a:r>
              <a:rPr lang="et-EE" dirty="0">
                <a:solidFill>
                  <a:schemeClr val="accent1"/>
                </a:solidFill>
              </a:rPr>
              <a:t> </a:t>
            </a:r>
            <a:r>
              <a:rPr lang="et-EE" dirty="0" err="1">
                <a:solidFill>
                  <a:schemeClr val="accent1"/>
                </a:solidFill>
              </a:rPr>
              <a:t>health</a:t>
            </a:r>
            <a:r>
              <a:rPr lang="et-EE" dirty="0">
                <a:solidFill>
                  <a:schemeClr val="accent1"/>
                </a:solidFill>
              </a:rPr>
              <a:t> of </a:t>
            </a:r>
            <a:r>
              <a:rPr lang="et-EE" dirty="0" err="1">
                <a:solidFill>
                  <a:schemeClr val="accent1"/>
                </a:solidFill>
              </a:rPr>
              <a:t>Estonians</a:t>
            </a:r>
            <a:r>
              <a:rPr lang="et-EE" dirty="0">
                <a:solidFill>
                  <a:schemeClr val="accent1"/>
                </a:solidFill>
              </a:rPr>
              <a:t> </a:t>
            </a:r>
            <a:r>
              <a:rPr lang="et-EE" dirty="0" err="1">
                <a:solidFill>
                  <a:schemeClr val="accent1"/>
                </a:solidFill>
              </a:rPr>
              <a:t>is</a:t>
            </a:r>
            <a:r>
              <a:rPr lang="et-EE" dirty="0">
                <a:solidFill>
                  <a:schemeClr val="accent1"/>
                </a:solidFill>
              </a:rPr>
              <a:t> </a:t>
            </a:r>
            <a:r>
              <a:rPr lang="et-EE" dirty="0" err="1">
                <a:solidFill>
                  <a:schemeClr val="accent1"/>
                </a:solidFill>
              </a:rPr>
              <a:t>tense</a:t>
            </a:r>
            <a:br>
              <a:rPr lang="et-EE" dirty="0">
                <a:solidFill>
                  <a:schemeClr val="accent1"/>
                </a:solidFill>
              </a:rPr>
            </a:br>
            <a:r>
              <a:rPr lang="et-EE" dirty="0" err="1">
                <a:solidFill>
                  <a:schemeClr val="accent1"/>
                </a:solidFill>
              </a:rPr>
              <a:t>Warning</a:t>
            </a:r>
            <a:r>
              <a:rPr lang="et-EE" dirty="0">
                <a:solidFill>
                  <a:schemeClr val="accent1"/>
                </a:solidFill>
              </a:rPr>
              <a:t>: </a:t>
            </a:r>
            <a:r>
              <a:rPr lang="et-EE" dirty="0" err="1">
                <a:solidFill>
                  <a:schemeClr val="accent1"/>
                </a:solidFill>
              </a:rPr>
              <a:t>new</a:t>
            </a:r>
            <a:r>
              <a:rPr lang="et-EE" dirty="0">
                <a:solidFill>
                  <a:schemeClr val="accent1"/>
                </a:solidFill>
              </a:rPr>
              <a:t> </a:t>
            </a:r>
            <a:r>
              <a:rPr lang="et-EE" dirty="0" err="1">
                <a:solidFill>
                  <a:schemeClr val="accent1"/>
                </a:solidFill>
              </a:rPr>
              <a:t>bank</a:t>
            </a:r>
            <a:r>
              <a:rPr lang="et-EE" dirty="0">
                <a:solidFill>
                  <a:schemeClr val="accent1"/>
                </a:solidFill>
              </a:rPr>
              <a:t> </a:t>
            </a:r>
            <a:r>
              <a:rPr lang="et-EE" dirty="0" err="1">
                <a:solidFill>
                  <a:schemeClr val="accent1"/>
                </a:solidFill>
              </a:rPr>
              <a:t>scam</a:t>
            </a:r>
            <a:r>
              <a:rPr lang="et-EE" dirty="0">
                <a:solidFill>
                  <a:schemeClr val="accent1"/>
                </a:solidFill>
              </a:rPr>
              <a:t> </a:t>
            </a:r>
            <a:br>
              <a:rPr lang="et-EE" dirty="0">
                <a:solidFill>
                  <a:schemeClr val="accent1"/>
                </a:solidFill>
              </a:rPr>
            </a:br>
            <a:endParaRPr lang="et-EE" dirty="0">
              <a:solidFill>
                <a:schemeClr val="accent1"/>
              </a:solidFill>
            </a:endParaRPr>
          </a:p>
          <a:p>
            <a:r>
              <a:rPr lang="et-EE" b="1" dirty="0" err="1">
                <a:solidFill>
                  <a:schemeClr val="accent1"/>
                </a:solidFill>
              </a:rPr>
              <a:t>February</a:t>
            </a:r>
            <a:br>
              <a:rPr lang="et-EE" b="1" dirty="0">
                <a:solidFill>
                  <a:schemeClr val="accent1"/>
                </a:solidFill>
              </a:rPr>
            </a:br>
            <a:r>
              <a:rPr lang="et-EE" dirty="0">
                <a:solidFill>
                  <a:schemeClr val="accent1"/>
                </a:solidFill>
              </a:rPr>
              <a:t>EURIBOR: </a:t>
            </a:r>
            <a:r>
              <a:rPr lang="et-EE" dirty="0" err="1">
                <a:solidFill>
                  <a:schemeClr val="accent1"/>
                </a:solidFill>
              </a:rPr>
              <a:t>interest</a:t>
            </a:r>
            <a:r>
              <a:rPr lang="et-EE" dirty="0">
                <a:solidFill>
                  <a:schemeClr val="accent1"/>
                </a:solidFill>
              </a:rPr>
              <a:t> </a:t>
            </a:r>
            <a:r>
              <a:rPr lang="et-EE" dirty="0" err="1">
                <a:solidFill>
                  <a:schemeClr val="accent1"/>
                </a:solidFill>
              </a:rPr>
              <a:t>rates</a:t>
            </a:r>
            <a:r>
              <a:rPr lang="et-EE" dirty="0">
                <a:solidFill>
                  <a:schemeClr val="accent1"/>
                </a:solidFill>
              </a:rPr>
              <a:t> keep </a:t>
            </a:r>
            <a:r>
              <a:rPr lang="et-EE" dirty="0" err="1">
                <a:solidFill>
                  <a:schemeClr val="accent1"/>
                </a:solidFill>
              </a:rPr>
              <a:t>growing</a:t>
            </a:r>
            <a:br>
              <a:rPr lang="et-EE" dirty="0">
                <a:solidFill>
                  <a:schemeClr val="accent1"/>
                </a:solidFill>
              </a:rPr>
            </a:br>
            <a:r>
              <a:rPr lang="et-EE" dirty="0" err="1">
                <a:solidFill>
                  <a:schemeClr val="accent1"/>
                </a:solidFill>
              </a:rPr>
              <a:t>Recruiting</a:t>
            </a:r>
            <a:r>
              <a:rPr lang="et-EE" dirty="0">
                <a:solidFill>
                  <a:schemeClr val="accent1"/>
                </a:solidFill>
              </a:rPr>
              <a:t> </a:t>
            </a:r>
            <a:r>
              <a:rPr lang="et-EE" dirty="0" err="1">
                <a:solidFill>
                  <a:schemeClr val="accent1"/>
                </a:solidFill>
              </a:rPr>
              <a:t>new</a:t>
            </a:r>
            <a:r>
              <a:rPr lang="et-EE" dirty="0">
                <a:solidFill>
                  <a:schemeClr val="accent1"/>
                </a:solidFill>
              </a:rPr>
              <a:t> </a:t>
            </a:r>
            <a:r>
              <a:rPr lang="et-EE" dirty="0" err="1">
                <a:solidFill>
                  <a:schemeClr val="accent1"/>
                </a:solidFill>
              </a:rPr>
              <a:t>employees</a:t>
            </a:r>
            <a:r>
              <a:rPr lang="et-EE" dirty="0">
                <a:solidFill>
                  <a:schemeClr val="accent1"/>
                </a:solidFill>
              </a:rPr>
              <a:t> </a:t>
            </a:r>
            <a:r>
              <a:rPr lang="et-EE" dirty="0" err="1">
                <a:solidFill>
                  <a:schemeClr val="accent1"/>
                </a:solidFill>
              </a:rPr>
              <a:t>is</a:t>
            </a:r>
            <a:r>
              <a:rPr lang="et-EE" dirty="0">
                <a:solidFill>
                  <a:schemeClr val="accent1"/>
                </a:solidFill>
              </a:rPr>
              <a:t> </a:t>
            </a:r>
            <a:r>
              <a:rPr lang="et-EE" dirty="0" err="1">
                <a:solidFill>
                  <a:schemeClr val="accent1"/>
                </a:solidFill>
              </a:rPr>
              <a:t>easier</a:t>
            </a:r>
            <a:r>
              <a:rPr lang="et-EE" dirty="0">
                <a:solidFill>
                  <a:schemeClr val="accent1"/>
                </a:solidFill>
              </a:rPr>
              <a:t> </a:t>
            </a:r>
            <a:br>
              <a:rPr lang="et-EE" dirty="0">
                <a:solidFill>
                  <a:schemeClr val="accent1"/>
                </a:solidFill>
              </a:rPr>
            </a:br>
            <a:r>
              <a:rPr lang="et-EE" dirty="0" err="1">
                <a:solidFill>
                  <a:schemeClr val="accent1"/>
                </a:solidFill>
              </a:rPr>
              <a:t>Financial</a:t>
            </a:r>
            <a:r>
              <a:rPr lang="et-EE" dirty="0">
                <a:solidFill>
                  <a:schemeClr val="accent1"/>
                </a:solidFill>
              </a:rPr>
              <a:t> </a:t>
            </a:r>
            <a:r>
              <a:rPr lang="et-EE" dirty="0" err="1">
                <a:solidFill>
                  <a:schemeClr val="accent1"/>
                </a:solidFill>
              </a:rPr>
              <a:t>markets</a:t>
            </a:r>
            <a:r>
              <a:rPr lang="et-EE" dirty="0">
                <a:solidFill>
                  <a:schemeClr val="accent1"/>
                </a:solidFill>
              </a:rPr>
              <a:t> 2023 – </a:t>
            </a:r>
            <a:r>
              <a:rPr lang="et-EE" dirty="0" err="1">
                <a:solidFill>
                  <a:schemeClr val="accent1"/>
                </a:solidFill>
              </a:rPr>
              <a:t>what</a:t>
            </a:r>
            <a:r>
              <a:rPr lang="et-EE" dirty="0">
                <a:solidFill>
                  <a:schemeClr val="accent1"/>
                </a:solidFill>
              </a:rPr>
              <a:t> </a:t>
            </a:r>
            <a:r>
              <a:rPr lang="et-EE" dirty="0" err="1">
                <a:solidFill>
                  <a:schemeClr val="accent1"/>
                </a:solidFill>
              </a:rPr>
              <a:t>to</a:t>
            </a:r>
            <a:r>
              <a:rPr lang="et-EE" dirty="0">
                <a:solidFill>
                  <a:schemeClr val="accent1"/>
                </a:solidFill>
              </a:rPr>
              <a:t> </a:t>
            </a:r>
            <a:r>
              <a:rPr lang="et-EE" dirty="0" err="1">
                <a:solidFill>
                  <a:schemeClr val="accent1"/>
                </a:solidFill>
              </a:rPr>
              <a:t>expect</a:t>
            </a:r>
            <a:r>
              <a:rPr lang="et-EE" dirty="0">
                <a:solidFill>
                  <a:schemeClr val="accent1"/>
                </a:solidFill>
              </a:rPr>
              <a:t>?</a:t>
            </a:r>
            <a:br>
              <a:rPr lang="et-EE" b="1" dirty="0">
                <a:solidFill>
                  <a:schemeClr val="accent1"/>
                </a:solidFill>
              </a:rPr>
            </a:br>
            <a:endParaRPr lang="et-EE" b="1" dirty="0">
              <a:solidFill>
                <a:schemeClr val="accent1"/>
              </a:solidFill>
            </a:endParaRPr>
          </a:p>
          <a:p>
            <a:r>
              <a:rPr lang="et-EE" b="1" dirty="0" err="1">
                <a:solidFill>
                  <a:schemeClr val="accent1"/>
                </a:solidFill>
              </a:rPr>
              <a:t>January</a:t>
            </a:r>
            <a:br>
              <a:rPr lang="et-EE" b="1" dirty="0">
                <a:solidFill>
                  <a:schemeClr val="accent1"/>
                </a:solidFill>
              </a:rPr>
            </a:br>
            <a:r>
              <a:rPr lang="et-EE" dirty="0">
                <a:solidFill>
                  <a:schemeClr val="accent1"/>
                </a:solidFill>
              </a:rPr>
              <a:t>Swedbank </a:t>
            </a:r>
            <a:r>
              <a:rPr lang="et-EE" dirty="0" err="1">
                <a:solidFill>
                  <a:schemeClr val="accent1"/>
                </a:solidFill>
              </a:rPr>
              <a:t>economic</a:t>
            </a:r>
            <a:r>
              <a:rPr lang="et-EE" dirty="0">
                <a:solidFill>
                  <a:schemeClr val="accent1"/>
                </a:solidFill>
              </a:rPr>
              <a:t> </a:t>
            </a:r>
            <a:r>
              <a:rPr lang="et-EE" dirty="0" err="1">
                <a:solidFill>
                  <a:schemeClr val="accent1"/>
                </a:solidFill>
              </a:rPr>
              <a:t>forecast</a:t>
            </a:r>
            <a:br>
              <a:rPr lang="et-EE" dirty="0">
                <a:solidFill>
                  <a:schemeClr val="accent1"/>
                </a:solidFill>
              </a:rPr>
            </a:br>
            <a:r>
              <a:rPr lang="et-EE" dirty="0">
                <a:solidFill>
                  <a:schemeClr val="accent1"/>
                </a:solidFill>
              </a:rPr>
              <a:t>Swedbank 2022: </a:t>
            </a:r>
            <a:r>
              <a:rPr lang="et-EE" dirty="0" err="1">
                <a:solidFill>
                  <a:schemeClr val="accent1"/>
                </a:solidFill>
              </a:rPr>
              <a:t>financial</a:t>
            </a:r>
            <a:r>
              <a:rPr lang="et-EE" dirty="0">
                <a:solidFill>
                  <a:schemeClr val="accent1"/>
                </a:solidFill>
              </a:rPr>
              <a:t> </a:t>
            </a:r>
            <a:r>
              <a:rPr lang="et-EE" dirty="0" err="1">
                <a:solidFill>
                  <a:schemeClr val="accent1"/>
                </a:solidFill>
              </a:rPr>
              <a:t>results</a:t>
            </a:r>
            <a:r>
              <a:rPr lang="et-EE" dirty="0">
                <a:solidFill>
                  <a:schemeClr val="accent1"/>
                </a:solidFill>
              </a:rPr>
              <a:t> Q4</a:t>
            </a:r>
            <a:br>
              <a:rPr lang="et-EE" dirty="0">
                <a:solidFill>
                  <a:schemeClr val="accent1"/>
                </a:solidFill>
              </a:rPr>
            </a:br>
            <a:r>
              <a:rPr lang="et-EE" dirty="0" err="1">
                <a:solidFill>
                  <a:schemeClr val="accent1"/>
                </a:solidFill>
              </a:rPr>
              <a:t>Index</a:t>
            </a:r>
            <a:r>
              <a:rPr lang="et-EE" dirty="0">
                <a:solidFill>
                  <a:schemeClr val="accent1"/>
                </a:solidFill>
              </a:rPr>
              <a:t> </a:t>
            </a:r>
            <a:r>
              <a:rPr lang="et-EE" dirty="0" err="1">
                <a:solidFill>
                  <a:schemeClr val="accent1"/>
                </a:solidFill>
              </a:rPr>
              <a:t>funds</a:t>
            </a:r>
            <a:br>
              <a:rPr lang="et-EE" dirty="0">
                <a:solidFill>
                  <a:schemeClr val="accent1"/>
                </a:solidFill>
              </a:rPr>
            </a:br>
            <a:br>
              <a:rPr lang="et-EE" b="1" dirty="0">
                <a:solidFill>
                  <a:schemeClr val="accent1"/>
                </a:solidFill>
              </a:rPr>
            </a:br>
            <a:br>
              <a:rPr lang="et-EE" b="1" dirty="0">
                <a:solidFill>
                  <a:schemeClr val="accent1"/>
                </a:solidFill>
              </a:rPr>
            </a:br>
            <a:br>
              <a:rPr lang="et-EE" dirty="0">
                <a:solidFill>
                  <a:schemeClr val="accent1"/>
                </a:solidFill>
              </a:rPr>
            </a:br>
            <a:endParaRPr lang="et-EE" dirty="0">
              <a:solidFill>
                <a:schemeClr val="accent1"/>
              </a:solidFill>
            </a:endParaRPr>
          </a:p>
          <a:p>
            <a:pPr marL="0" indent="0">
              <a:buNone/>
            </a:pPr>
            <a:endParaRPr lang="et-EE" dirty="0">
              <a:solidFill>
                <a:schemeClr val="accent1"/>
              </a:solidFill>
            </a:endParaRPr>
          </a:p>
          <a:p>
            <a:endParaRPr lang="et-EE" dirty="0">
              <a:solidFill>
                <a:schemeClr val="accent1"/>
              </a:solidFill>
            </a:endParaRPr>
          </a:p>
          <a:p>
            <a:pPr marL="0" indent="0">
              <a:buNone/>
            </a:pPr>
            <a:endParaRPr lang="et-EE" dirty="0">
              <a:solidFill>
                <a:schemeClr val="accent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1F1BDA-D39B-4FA0-9FA0-E7B6137928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B0D67F-ADED-4EA0-932C-7DA9D6AA85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DEB031-4627-4CFF-A21C-71A10F3760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en-GB" noProof="0" smtClean="0"/>
              <a:t>3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458204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32929F-0397-067D-A1E7-A150FD0A8C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4226" y="393042"/>
            <a:ext cx="10620374" cy="1052240"/>
          </a:xfrm>
        </p:spPr>
        <p:txBody>
          <a:bodyPr anchor="t">
            <a:normAutofit/>
          </a:bodyPr>
          <a:lstStyle/>
          <a:p>
            <a:r>
              <a:rPr lang="et-EE" dirty="0" err="1"/>
              <a:t>Good</a:t>
            </a:r>
            <a:r>
              <a:rPr lang="et-EE" dirty="0"/>
              <a:t> news: Term </a:t>
            </a:r>
            <a:r>
              <a:rPr lang="et-EE" dirty="0" err="1"/>
              <a:t>deposits</a:t>
            </a:r>
            <a:endParaRPr lang="et-EE" dirty="0"/>
          </a:p>
        </p:txBody>
      </p:sp>
      <p:pic>
        <p:nvPicPr>
          <p:cNvPr id="4" name="Content Placeholder 3" descr="A piggy bank with coins&#10;&#10;Description automatically generated with medium confidence">
            <a:extLst>
              <a:ext uri="{FF2B5EF4-FFF2-40B4-BE49-F238E27FC236}">
                <a16:creationId xmlns:a16="http://schemas.microsoft.com/office/drawing/2014/main" id="{EA8F0602-117C-4238-A115-4ED175737578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 rotWithShape="1">
          <a:blip r:embed="rId3"/>
          <a:srcRect l="18276" r="-1" b="-1"/>
          <a:stretch/>
        </p:blipFill>
        <p:spPr>
          <a:xfrm>
            <a:off x="784226" y="1763713"/>
            <a:ext cx="5111750" cy="4175125"/>
          </a:xfrm>
          <a:noFill/>
        </p:spPr>
      </p:pic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844DC805-EC1D-47FF-4F8A-7A48ECF9FFD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1263" y="1763713"/>
            <a:ext cx="5113338" cy="4175125"/>
          </a:xfrm>
        </p:spPr>
        <p:txBody>
          <a:bodyPr/>
          <a:lstStyle/>
          <a:p>
            <a:r>
              <a:rPr lang="et-EE" dirty="0" err="1"/>
              <a:t>Growing</a:t>
            </a:r>
            <a:r>
              <a:rPr lang="et-EE" dirty="0"/>
              <a:t> </a:t>
            </a:r>
            <a:r>
              <a:rPr lang="et-EE" dirty="0" err="1"/>
              <a:t>since</a:t>
            </a:r>
            <a:r>
              <a:rPr lang="et-EE" dirty="0"/>
              <a:t> September 2022. </a:t>
            </a:r>
            <a:br>
              <a:rPr lang="et-EE" dirty="0"/>
            </a:br>
            <a:endParaRPr lang="et-EE" dirty="0"/>
          </a:p>
          <a:p>
            <a:r>
              <a:rPr lang="et-EE" dirty="0"/>
              <a:t>Have </a:t>
            </a:r>
            <a:r>
              <a:rPr lang="et-EE" dirty="0" err="1"/>
              <a:t>increased</a:t>
            </a:r>
            <a:r>
              <a:rPr lang="et-EE" dirty="0"/>
              <a:t> </a:t>
            </a:r>
            <a:r>
              <a:rPr lang="et-EE" dirty="0" err="1"/>
              <a:t>more</a:t>
            </a:r>
            <a:r>
              <a:rPr lang="et-EE" dirty="0"/>
              <a:t> </a:t>
            </a:r>
            <a:r>
              <a:rPr lang="et-EE" dirty="0" err="1"/>
              <a:t>than</a:t>
            </a:r>
            <a:r>
              <a:rPr lang="et-EE" dirty="0"/>
              <a:t> </a:t>
            </a:r>
            <a:r>
              <a:rPr lang="et-EE" b="1" dirty="0"/>
              <a:t>35,4% </a:t>
            </a:r>
            <a:r>
              <a:rPr lang="et-EE" dirty="0" err="1"/>
              <a:t>since</a:t>
            </a:r>
            <a:r>
              <a:rPr lang="et-EE" dirty="0"/>
              <a:t> </a:t>
            </a:r>
            <a:r>
              <a:rPr lang="et-EE" dirty="0" err="1"/>
              <a:t>the</a:t>
            </a:r>
            <a:r>
              <a:rPr lang="et-EE" dirty="0"/>
              <a:t> </a:t>
            </a:r>
            <a:r>
              <a:rPr lang="et-EE" dirty="0" err="1"/>
              <a:t>beginning</a:t>
            </a:r>
            <a:r>
              <a:rPr lang="et-EE" dirty="0"/>
              <a:t> of </a:t>
            </a:r>
            <a:r>
              <a:rPr lang="et-EE" dirty="0" err="1"/>
              <a:t>the</a:t>
            </a:r>
            <a:r>
              <a:rPr lang="et-EE" dirty="0"/>
              <a:t> </a:t>
            </a:r>
            <a:r>
              <a:rPr lang="et-EE" dirty="0" err="1"/>
              <a:t>year</a:t>
            </a:r>
            <a:r>
              <a:rPr lang="et-EE" dirty="0"/>
              <a:t>. </a:t>
            </a:r>
            <a:br>
              <a:rPr lang="et-EE" dirty="0"/>
            </a:br>
            <a:endParaRPr lang="et-EE" dirty="0"/>
          </a:p>
          <a:p>
            <a:r>
              <a:rPr lang="et-EE" dirty="0" err="1"/>
              <a:t>Compared</a:t>
            </a:r>
            <a:r>
              <a:rPr lang="et-EE" dirty="0"/>
              <a:t> </a:t>
            </a:r>
            <a:r>
              <a:rPr lang="et-EE" dirty="0" err="1"/>
              <a:t>to</a:t>
            </a:r>
            <a:r>
              <a:rPr lang="et-EE" dirty="0"/>
              <a:t> </a:t>
            </a:r>
            <a:r>
              <a:rPr lang="et-EE" dirty="0" err="1"/>
              <a:t>year</a:t>
            </a:r>
            <a:r>
              <a:rPr lang="et-EE" dirty="0"/>
              <a:t> </a:t>
            </a:r>
            <a:r>
              <a:rPr lang="et-EE" dirty="0" err="1"/>
              <a:t>ago</a:t>
            </a:r>
            <a:r>
              <a:rPr lang="et-EE" dirty="0"/>
              <a:t>, </a:t>
            </a:r>
            <a:r>
              <a:rPr lang="et-EE" dirty="0" err="1"/>
              <a:t>the</a:t>
            </a:r>
            <a:r>
              <a:rPr lang="et-EE" dirty="0"/>
              <a:t> </a:t>
            </a:r>
            <a:r>
              <a:rPr lang="et-EE" dirty="0" err="1"/>
              <a:t>volume</a:t>
            </a:r>
            <a:r>
              <a:rPr lang="et-EE" dirty="0"/>
              <a:t> of term </a:t>
            </a:r>
            <a:r>
              <a:rPr lang="et-EE" dirty="0" err="1"/>
              <a:t>deposits</a:t>
            </a:r>
            <a:r>
              <a:rPr lang="et-EE" dirty="0"/>
              <a:t> of </a:t>
            </a:r>
            <a:r>
              <a:rPr lang="et-EE" dirty="0" err="1"/>
              <a:t>private</a:t>
            </a:r>
            <a:r>
              <a:rPr lang="et-EE" dirty="0"/>
              <a:t> </a:t>
            </a:r>
            <a:r>
              <a:rPr lang="et-EE" dirty="0" err="1"/>
              <a:t>customers</a:t>
            </a:r>
            <a:r>
              <a:rPr lang="et-EE" dirty="0"/>
              <a:t> </a:t>
            </a:r>
            <a:r>
              <a:rPr lang="et-EE" dirty="0" err="1"/>
              <a:t>has</a:t>
            </a:r>
            <a:r>
              <a:rPr lang="et-EE" dirty="0"/>
              <a:t> </a:t>
            </a:r>
            <a:r>
              <a:rPr lang="et-EE" dirty="0" err="1"/>
              <a:t>increased</a:t>
            </a:r>
            <a:r>
              <a:rPr lang="et-EE" dirty="0"/>
              <a:t> by </a:t>
            </a:r>
            <a:r>
              <a:rPr lang="et-EE" b="1" dirty="0"/>
              <a:t>49%</a:t>
            </a:r>
            <a:r>
              <a:rPr lang="et-EE" dirty="0"/>
              <a:t>. </a:t>
            </a:r>
            <a:br>
              <a:rPr lang="et-EE" dirty="0"/>
            </a:br>
            <a:endParaRPr lang="et-EE" dirty="0"/>
          </a:p>
          <a:p>
            <a:r>
              <a:rPr lang="et-EE" dirty="0" err="1"/>
              <a:t>We</a:t>
            </a:r>
            <a:r>
              <a:rPr lang="et-EE" dirty="0"/>
              <a:t> have </a:t>
            </a:r>
            <a:r>
              <a:rPr lang="et-EE" dirty="0" err="1"/>
              <a:t>rised</a:t>
            </a:r>
            <a:r>
              <a:rPr lang="et-EE" dirty="0"/>
              <a:t> term </a:t>
            </a:r>
            <a:r>
              <a:rPr lang="et-EE" dirty="0" err="1"/>
              <a:t>deposits</a:t>
            </a:r>
            <a:r>
              <a:rPr lang="et-EE" dirty="0"/>
              <a:t> </a:t>
            </a:r>
            <a:r>
              <a:rPr lang="et-EE" dirty="0" err="1"/>
              <a:t>interest</a:t>
            </a:r>
            <a:r>
              <a:rPr lang="et-EE" dirty="0"/>
              <a:t> </a:t>
            </a:r>
            <a:r>
              <a:rPr lang="et-EE" dirty="0" err="1"/>
              <a:t>rates</a:t>
            </a:r>
            <a:r>
              <a:rPr lang="et-EE" dirty="0"/>
              <a:t> </a:t>
            </a:r>
            <a:r>
              <a:rPr lang="et-EE" b="1" dirty="0"/>
              <a:t>4 </a:t>
            </a:r>
            <a:r>
              <a:rPr lang="et-EE" dirty="0" err="1"/>
              <a:t>times</a:t>
            </a:r>
            <a:r>
              <a:rPr lang="et-EE" dirty="0"/>
              <a:t> </a:t>
            </a:r>
            <a:r>
              <a:rPr lang="et-EE" dirty="0" err="1"/>
              <a:t>already</a:t>
            </a:r>
            <a:r>
              <a:rPr lang="et-EE" dirty="0"/>
              <a:t> </a:t>
            </a:r>
            <a:r>
              <a:rPr lang="et-EE" dirty="0" err="1"/>
              <a:t>this</a:t>
            </a:r>
            <a:r>
              <a:rPr lang="et-EE" dirty="0"/>
              <a:t> </a:t>
            </a:r>
            <a:r>
              <a:rPr lang="et-EE" dirty="0" err="1"/>
              <a:t>year</a:t>
            </a:r>
            <a:r>
              <a:rPr lang="et-EE" dirty="0"/>
              <a:t>. </a:t>
            </a:r>
            <a:endParaRPr lang="en-US" dirty="0"/>
          </a:p>
        </p:txBody>
      </p:sp>
      <p:sp>
        <p:nvSpPr>
          <p:cNvPr id="29" name="Date Placeholder 4">
            <a:extLst>
              <a:ext uri="{FF2B5EF4-FFF2-40B4-BE49-F238E27FC236}">
                <a16:creationId xmlns:a16="http://schemas.microsoft.com/office/drawing/2014/main" id="{F67E44A5-FB6A-8B7C-07CE-E041A737FA7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568800" y="6351405"/>
            <a:ext cx="1835800" cy="242607"/>
          </a:xfrm>
        </p:spPr>
        <p:txBody>
          <a:bodyPr/>
          <a:lstStyle/>
          <a:p>
            <a:endParaRPr lang="en-GB"/>
          </a:p>
        </p:txBody>
      </p:sp>
      <p:sp>
        <p:nvSpPr>
          <p:cNvPr id="30" name="Footer Placeholder 5">
            <a:extLst>
              <a:ext uri="{FF2B5EF4-FFF2-40B4-BE49-F238E27FC236}">
                <a16:creationId xmlns:a16="http://schemas.microsoft.com/office/drawing/2014/main" id="{33275783-A50A-15B5-6C74-53DB69D3AC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56800" y="6351405"/>
            <a:ext cx="5112000" cy="242418"/>
          </a:xfr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F5D351-93BE-F278-0866-802315F81C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04600" y="6351405"/>
            <a:ext cx="477736" cy="242418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859873C9-BF5D-4A9A-BB31-45BBB7BABAF7}" type="slidenum">
              <a:rPr lang="en-GB" noProof="0" smtClean="0"/>
              <a:pPr>
                <a:spcAft>
                  <a:spcPts val="600"/>
                </a:spcAft>
              </a:pPr>
              <a:t>4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6873671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BE8932CA-B82E-345E-2579-8EDA7486B6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7588" y="1763713"/>
            <a:ext cx="2306638" cy="2181225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E050D6EE-28E6-5998-6F6A-9A6425EE880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7588" y="3944938"/>
            <a:ext cx="2306638" cy="19939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C0F9655D-511F-87E5-C9A1-E5E8B092AA0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92488" y="1763713"/>
            <a:ext cx="2154238" cy="1633538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68366AD6-CE35-8926-2F5F-E971AA4A576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92488" y="3467100"/>
            <a:ext cx="2154238" cy="247332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6072AEC-674E-D2D7-EBA4-94518F5E11E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18163" y="1763713"/>
            <a:ext cx="5551488" cy="41751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0416FEB-DC51-AB79-B480-EC14012A48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0575" y="481665"/>
            <a:ext cx="10614026" cy="783144"/>
          </a:xfrm>
        </p:spPr>
        <p:txBody>
          <a:bodyPr anchor="t">
            <a:normAutofit/>
          </a:bodyPr>
          <a:lstStyle/>
          <a:p>
            <a:r>
              <a:rPr lang="et-EE" sz="3400" dirty="0" err="1"/>
              <a:t>Good</a:t>
            </a:r>
            <a:r>
              <a:rPr lang="et-EE" sz="3400" dirty="0"/>
              <a:t> news: E</a:t>
            </a:r>
            <a:r>
              <a:rPr lang="en-US" sz="3400" dirty="0" err="1"/>
              <a:t>nergy</a:t>
            </a:r>
            <a:r>
              <a:rPr lang="en-US" sz="3400" dirty="0"/>
              <a:t> saving loans with zero margin</a:t>
            </a:r>
            <a:endParaRPr lang="et-EE" sz="3400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34D7A47-DFF1-BE71-D5EB-9FB338548A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fld id="{24C8C45C-947F-4981-8B3F-4F32E973C901}" type="slidenum">
              <a:rPr lang="en-GB" smtClean="0"/>
              <a:pPr>
                <a:spcAft>
                  <a:spcPts val="600"/>
                </a:spcAft>
              </a:pPr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34742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E7E159-C3A0-1A7F-B192-4DE66CA9D3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4224" y="481665"/>
            <a:ext cx="10620375" cy="1052240"/>
          </a:xfrm>
        </p:spPr>
        <p:txBody>
          <a:bodyPr anchor="t">
            <a:normAutofit/>
          </a:bodyPr>
          <a:lstStyle/>
          <a:p>
            <a:r>
              <a:rPr lang="et-EE" dirty="0" err="1"/>
              <a:t>sTARTUp</a:t>
            </a:r>
            <a:r>
              <a:rPr lang="et-EE" dirty="0"/>
              <a:t> </a:t>
            </a:r>
            <a:r>
              <a:rPr lang="et-EE" dirty="0" err="1"/>
              <a:t>Day</a:t>
            </a:r>
            <a:r>
              <a:rPr lang="et-EE" dirty="0"/>
              <a:t> in </a:t>
            </a:r>
            <a:r>
              <a:rPr lang="et-EE" dirty="0" err="1"/>
              <a:t>March</a:t>
            </a:r>
            <a:endParaRPr lang="et-EE" dirty="0"/>
          </a:p>
        </p:txBody>
      </p:sp>
      <p:pic>
        <p:nvPicPr>
          <p:cNvPr id="6146" name="Picture 2">
            <a:extLst>
              <a:ext uri="{FF2B5EF4-FFF2-40B4-BE49-F238E27FC236}">
                <a16:creationId xmlns:a16="http://schemas.microsoft.com/office/drawing/2014/main" id="{63F9C84D-245F-7AFE-B1E0-BEF9536CA1A7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52" b="17838"/>
          <a:stretch/>
        </p:blipFill>
        <p:spPr bwMode="auto">
          <a:xfrm>
            <a:off x="784226" y="1763713"/>
            <a:ext cx="10621962" cy="4175125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6151" name="Date Placeholder 3">
            <a:extLst>
              <a:ext uri="{FF2B5EF4-FFF2-40B4-BE49-F238E27FC236}">
                <a16:creationId xmlns:a16="http://schemas.microsoft.com/office/drawing/2014/main" id="{46637048-73BC-839A-8922-B0FD044C732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568800" y="6351405"/>
            <a:ext cx="1835800" cy="242607"/>
          </a:xfrm>
        </p:spPr>
        <p:txBody>
          <a:bodyPr/>
          <a:lstStyle/>
          <a:p>
            <a:endParaRPr lang="en-GB" noProof="0"/>
          </a:p>
        </p:txBody>
      </p:sp>
      <p:sp>
        <p:nvSpPr>
          <p:cNvPr id="6153" name="Footer Placeholder 4">
            <a:extLst>
              <a:ext uri="{FF2B5EF4-FFF2-40B4-BE49-F238E27FC236}">
                <a16:creationId xmlns:a16="http://schemas.microsoft.com/office/drawing/2014/main" id="{10072A6E-C332-3EC0-A74C-E48C347F3F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56800" y="6351405"/>
            <a:ext cx="5112000" cy="242418"/>
          </a:xfrm>
        </p:spPr>
        <p:txBody>
          <a:bodyPr/>
          <a:lstStyle/>
          <a:p>
            <a:endParaRPr lang="en-GB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A5D8A4-615F-9E8A-05FC-D91FA9CB77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04600" y="6351405"/>
            <a:ext cx="477736" cy="242418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859873C9-BF5D-4A9A-BB31-45BBB7BABAF7}" type="slidenum">
              <a:rPr lang="en-GB" noProof="0" smtClean="0"/>
              <a:pPr>
                <a:spcAft>
                  <a:spcPts val="600"/>
                </a:spcAft>
              </a:pPr>
              <a:t>6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6715754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7" name="Title 1">
            <a:extLst>
              <a:ext uri="{FF2B5EF4-FFF2-40B4-BE49-F238E27FC236}">
                <a16:creationId xmlns:a16="http://schemas.microsoft.com/office/drawing/2014/main" id="{465121CE-CD67-82CF-3B13-EFE67B2AD6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4224" y="481665"/>
            <a:ext cx="10620375" cy="1052240"/>
          </a:xfrm>
        </p:spPr>
        <p:txBody>
          <a:bodyPr/>
          <a:lstStyle/>
          <a:p>
            <a:r>
              <a:rPr lang="et-EE" dirty="0" err="1"/>
              <a:t>People</a:t>
            </a:r>
            <a:r>
              <a:rPr lang="et-EE" dirty="0"/>
              <a:t> of </a:t>
            </a:r>
            <a:r>
              <a:rPr lang="et-EE" dirty="0" err="1"/>
              <a:t>the</a:t>
            </a:r>
            <a:r>
              <a:rPr lang="et-EE" dirty="0"/>
              <a:t> </a:t>
            </a:r>
            <a:r>
              <a:rPr lang="et-EE" dirty="0" err="1"/>
              <a:t>Year</a:t>
            </a:r>
            <a:r>
              <a:rPr lang="et-EE" dirty="0"/>
              <a:t> 2022</a:t>
            </a:r>
            <a:br>
              <a:rPr lang="et-EE" dirty="0"/>
            </a:br>
            <a:r>
              <a:rPr lang="en-US" sz="1700" dirty="0"/>
              <a:t>On April 1, we looked back at the year 2022 and recognized our colleagues who have been standing out.</a:t>
            </a:r>
          </a:p>
        </p:txBody>
      </p:sp>
      <p:pic>
        <p:nvPicPr>
          <p:cNvPr id="5122" name="Picture 2">
            <a:extLst>
              <a:ext uri="{FF2B5EF4-FFF2-40B4-BE49-F238E27FC236}">
                <a16:creationId xmlns:a16="http://schemas.microsoft.com/office/drawing/2014/main" id="{98D9CA6F-D085-F16A-E18A-DE6BCEF68D87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813" b="7299"/>
          <a:stretch/>
        </p:blipFill>
        <p:spPr bwMode="auto">
          <a:xfrm>
            <a:off x="784224" y="1763713"/>
            <a:ext cx="10621963" cy="4175125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5129" name="Date Placeholder 3">
            <a:extLst>
              <a:ext uri="{FF2B5EF4-FFF2-40B4-BE49-F238E27FC236}">
                <a16:creationId xmlns:a16="http://schemas.microsoft.com/office/drawing/2014/main" id="{285AA2ED-1F7B-DDAD-E1C4-894C553A0F9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568800" y="6351405"/>
            <a:ext cx="1835800" cy="242607"/>
          </a:xfrm>
        </p:spPr>
        <p:txBody>
          <a:bodyPr/>
          <a:lstStyle/>
          <a:p>
            <a:endParaRPr lang="en-GB" noProof="0"/>
          </a:p>
        </p:txBody>
      </p:sp>
      <p:sp>
        <p:nvSpPr>
          <p:cNvPr id="5131" name="Footer Placeholder 4">
            <a:extLst>
              <a:ext uri="{FF2B5EF4-FFF2-40B4-BE49-F238E27FC236}">
                <a16:creationId xmlns:a16="http://schemas.microsoft.com/office/drawing/2014/main" id="{9DB54058-8732-156F-6E62-8F41F06F59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56800" y="6351405"/>
            <a:ext cx="5112000" cy="242418"/>
          </a:xfrm>
        </p:spPr>
        <p:txBody>
          <a:bodyPr/>
          <a:lstStyle/>
          <a:p>
            <a:endParaRPr lang="en-GB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2A1D89-8653-A450-AF2D-FD9217CC8C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04600" y="6351405"/>
            <a:ext cx="477736" cy="242418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859873C9-BF5D-4A9A-BB31-45BBB7BABAF7}" type="slidenum">
              <a:rPr lang="en-GB" noProof="0" smtClean="0"/>
              <a:pPr>
                <a:spcAft>
                  <a:spcPts val="600"/>
                </a:spcAft>
              </a:pPr>
              <a:t>7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9871300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wedbank">
  <a:themeElements>
    <a:clrScheme name="Swedbank">
      <a:dk1>
        <a:srgbClr val="000000"/>
      </a:dk1>
      <a:lt1>
        <a:sysClr val="window" lastClr="FFFFFF"/>
      </a:lt1>
      <a:dk2>
        <a:srgbClr val="512B2B"/>
      </a:dk2>
      <a:lt2>
        <a:srgbClr val="FFFFFF"/>
      </a:lt2>
      <a:accent1>
        <a:srgbClr val="FF5F00"/>
      </a:accent1>
      <a:accent2>
        <a:srgbClr val="FDC92A"/>
      </a:accent2>
      <a:accent3>
        <a:srgbClr val="31A3AE"/>
      </a:accent3>
      <a:accent4>
        <a:srgbClr val="C5569A"/>
      </a:accent4>
      <a:accent5>
        <a:srgbClr val="FF9102"/>
      </a:accent5>
      <a:accent6>
        <a:srgbClr val="8ACDC3"/>
      </a:accent6>
      <a:hlink>
        <a:srgbClr val="FF5F00"/>
      </a:hlink>
      <a:folHlink>
        <a:srgbClr val="FDC92A"/>
      </a:folHlink>
    </a:clrScheme>
    <a:fontScheme name="Swedbank">
      <a:majorFont>
        <a:latin typeface="Swedbank Headline Black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defRPr sz="2200"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200" dirty="0" err="1" smtClean="0">
            <a:solidFill>
              <a:srgbClr val="512B2B"/>
            </a:solidFill>
          </a:defRPr>
        </a:defPPr>
      </a:lstStyle>
    </a:txDef>
  </a:objectDefaults>
  <a:extraClrSchemeLst/>
  <a:custClrLst>
    <a:custClr name="White">
      <a:srgbClr val="FFFFFF"/>
    </a:custClr>
    <a:custClr name="Black">
      <a:srgbClr val="000000"/>
    </a:custClr>
    <a:custClr name="White">
      <a:srgbClr val="FFFFFF"/>
    </a:custClr>
    <a:custClr name="Bark">
      <a:srgbClr val="512B2B"/>
    </a:custClr>
    <a:custClr name="Swedbank Orange">
      <a:srgbClr val="FF5F00"/>
    </a:custClr>
    <a:custClr name="Pineapple">
      <a:srgbClr val="FDC92A"/>
    </a:custClr>
    <a:custClr name="Turquoise">
      <a:srgbClr val="31A3AE"/>
    </a:custClr>
    <a:custClr name="Lilac">
      <a:srgbClr val="C5569A"/>
    </a:custClr>
    <a:custClr name="Tangerine">
      <a:srgbClr val="FF9102"/>
    </a:custClr>
    <a:custClr name="Seafoam">
      <a:srgbClr val="8ACDC3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Tangerine">
      <a:srgbClr val="FF9102"/>
    </a:custClr>
    <a:custClr>
      <a:srgbClr val="FFFFFF"/>
    </a:custClr>
    <a:custClr name="Aqua">
      <a:srgbClr val="BBEAD9"/>
    </a:custClr>
    <a:custClr name="Lavender">
      <a:srgbClr val="D28AC5"/>
    </a:custClr>
    <a:custClr>
      <a:srgbClr val="FFFFFF"/>
    </a:custClr>
    <a:custClr name="Aqua">
      <a:srgbClr val="BBEAD9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ineapple">
      <a:srgbClr val="FDC92A"/>
    </a:custClr>
    <a:custClr>
      <a:srgbClr val="FFFFFF"/>
    </a:custClr>
    <a:custClr name="Sky">
      <a:srgbClr val="DBF8ED"/>
    </a:custClr>
    <a:custClr name="Iris">
      <a:srgbClr val="F8DBF5"/>
    </a:custClr>
    <a:custClr>
      <a:srgbClr val="FFFFFF"/>
    </a:custClr>
    <a:custClr name="Sky">
      <a:srgbClr val="DBF8ED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each">
      <a:srgbClr val="FFF1CD"/>
    </a:custClr>
    <a:custClr>
      <a:srgbClr val="FFFFFF"/>
    </a:custClr>
    <a:custClr name="Mist">
      <a:srgbClr val="EBF9F3"/>
    </a:custClr>
    <a:custClr name="Rose">
      <a:srgbClr val="FFECFF"/>
    </a:custClr>
    <a:custClr>
      <a:srgbClr val="FFFFFF"/>
    </a:custClr>
    <a:custClr name="Mist">
      <a:srgbClr val="EBF9F3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Apricot">
      <a:srgbClr val="FAEFE5"/>
    </a:custClr>
    <a:custClr>
      <a:srgbClr val="FFFFFF"/>
    </a:custClr>
    <a:custClr name="Teal">
      <a:srgbClr val="257886"/>
    </a:custClr>
    <a:custClr name="Tulip">
      <a:srgbClr val="990066"/>
    </a:custClr>
    <a:custClr>
      <a:srgbClr val="FFFFFF"/>
    </a:custClr>
    <a:custClr name="Teal">
      <a:srgbClr val="257886"/>
    </a:custClr>
  </a:custClrLst>
  <a:extLst>
    <a:ext uri="{05A4C25C-085E-4340-85A3-A5531E510DB2}">
      <thm15:themeFamily xmlns:thm15="http://schemas.microsoft.com/office/thememl/2012/main" name="Blank.potx" id="{B84C4306-47C6-4679-ACD6-D1BE5B2E8855}" vid="{AD4C7074-3FC1-4A03-97FA-65CB7E8749D6}"/>
    </a:ext>
  </a:extLst>
</a:theme>
</file>

<file path=ppt/theme/theme2.xml><?xml version="1.0" encoding="utf-8"?>
<a:theme xmlns:a="http://schemas.openxmlformats.org/drawingml/2006/main" name="1_Swedbank">
  <a:themeElements>
    <a:clrScheme name="Swedbank">
      <a:dk1>
        <a:srgbClr val="000000"/>
      </a:dk1>
      <a:lt1>
        <a:sysClr val="window" lastClr="FFFFFF"/>
      </a:lt1>
      <a:dk2>
        <a:srgbClr val="512B2B"/>
      </a:dk2>
      <a:lt2>
        <a:srgbClr val="FFFFFF"/>
      </a:lt2>
      <a:accent1>
        <a:srgbClr val="FF5F00"/>
      </a:accent1>
      <a:accent2>
        <a:srgbClr val="FDC92A"/>
      </a:accent2>
      <a:accent3>
        <a:srgbClr val="31A3AE"/>
      </a:accent3>
      <a:accent4>
        <a:srgbClr val="C5569A"/>
      </a:accent4>
      <a:accent5>
        <a:srgbClr val="FF9102"/>
      </a:accent5>
      <a:accent6>
        <a:srgbClr val="8ACDC3"/>
      </a:accent6>
      <a:hlink>
        <a:srgbClr val="FF5F00"/>
      </a:hlink>
      <a:folHlink>
        <a:srgbClr val="FDC92A"/>
      </a:folHlink>
    </a:clrScheme>
    <a:fontScheme name="Swedbank">
      <a:majorFont>
        <a:latin typeface="Swedbank Headline Black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defRPr sz="2200"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200" dirty="0" err="1" smtClean="0">
            <a:solidFill>
              <a:srgbClr val="512B2B"/>
            </a:solidFill>
          </a:defRPr>
        </a:defPPr>
      </a:lstStyle>
    </a:txDef>
  </a:objectDefaults>
  <a:extraClrSchemeLst/>
  <a:custClrLst>
    <a:custClr name="White">
      <a:srgbClr val="FFFFFF"/>
    </a:custClr>
    <a:custClr name="Black">
      <a:srgbClr val="000000"/>
    </a:custClr>
    <a:custClr name="White">
      <a:srgbClr val="FFFFFF"/>
    </a:custClr>
    <a:custClr name="Bark">
      <a:srgbClr val="512B2B"/>
    </a:custClr>
    <a:custClr name="Swedbank Orange">
      <a:srgbClr val="FF5F00"/>
    </a:custClr>
    <a:custClr name="Pineapple">
      <a:srgbClr val="FDC92A"/>
    </a:custClr>
    <a:custClr name="Turquoise">
      <a:srgbClr val="31A3AE"/>
    </a:custClr>
    <a:custClr name="Lilac">
      <a:srgbClr val="C5569A"/>
    </a:custClr>
    <a:custClr name="Tangerine">
      <a:srgbClr val="FF9102"/>
    </a:custClr>
    <a:custClr name="Seafoam">
      <a:srgbClr val="8ACDC3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Tangerine">
      <a:srgbClr val="FF9102"/>
    </a:custClr>
    <a:custClr>
      <a:srgbClr val="FFFFFF"/>
    </a:custClr>
    <a:custClr name="Aqua">
      <a:srgbClr val="BBEAD9"/>
    </a:custClr>
    <a:custClr name="Lavender">
      <a:srgbClr val="D28AC5"/>
    </a:custClr>
    <a:custClr>
      <a:srgbClr val="FFFFFF"/>
    </a:custClr>
    <a:custClr name="Aqua">
      <a:srgbClr val="BBEAD9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ineapple">
      <a:srgbClr val="FDC92A"/>
    </a:custClr>
    <a:custClr>
      <a:srgbClr val="FFFFFF"/>
    </a:custClr>
    <a:custClr name="Sky">
      <a:srgbClr val="DBF8ED"/>
    </a:custClr>
    <a:custClr name="Iris">
      <a:srgbClr val="F8DBF5"/>
    </a:custClr>
    <a:custClr>
      <a:srgbClr val="FFFFFF"/>
    </a:custClr>
    <a:custClr name="Sky">
      <a:srgbClr val="DBF8ED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each">
      <a:srgbClr val="FFF1CD"/>
    </a:custClr>
    <a:custClr>
      <a:srgbClr val="FFFFFF"/>
    </a:custClr>
    <a:custClr name="Mist">
      <a:srgbClr val="EBF9F3"/>
    </a:custClr>
    <a:custClr name="Rose">
      <a:srgbClr val="FFECFF"/>
    </a:custClr>
    <a:custClr>
      <a:srgbClr val="FFFFFF"/>
    </a:custClr>
    <a:custClr name="Mist">
      <a:srgbClr val="EBF9F3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Apricot">
      <a:srgbClr val="FAEFE5"/>
    </a:custClr>
    <a:custClr>
      <a:srgbClr val="FFFFFF"/>
    </a:custClr>
    <a:custClr name="Teal">
      <a:srgbClr val="257886"/>
    </a:custClr>
    <a:custClr name="Tulip">
      <a:srgbClr val="990066"/>
    </a:custClr>
    <a:custClr>
      <a:srgbClr val="FFFFFF"/>
    </a:custClr>
    <a:custClr name="Teal">
      <a:srgbClr val="257886"/>
    </a:custClr>
  </a:custClrLst>
  <a:extLst>
    <a:ext uri="{05A4C25C-085E-4340-85A3-A5531E510DB2}">
      <thm15:themeFamily xmlns:thm15="http://schemas.microsoft.com/office/thememl/2012/main" name="Blank.potx" id="{B84C4306-47C6-4679-ACD6-D1BE5B2E8855}" vid="{AD4C7074-3FC1-4A03-97FA-65CB7E8749D6}"/>
    </a:ext>
  </a:extLst>
</a:theme>
</file>

<file path=ppt/theme/theme3.xml><?xml version="1.0" encoding="utf-8"?>
<a:theme xmlns:a="http://schemas.openxmlformats.org/drawingml/2006/main" name="Office-tema">
  <a:themeElements>
    <a:clrScheme name="Swedbank">
      <a:dk1>
        <a:srgbClr val="000000"/>
      </a:dk1>
      <a:lt1>
        <a:sysClr val="window" lastClr="FFFFFF"/>
      </a:lt1>
      <a:dk2>
        <a:srgbClr val="512B2B"/>
      </a:dk2>
      <a:lt2>
        <a:srgbClr val="FFFFFF"/>
      </a:lt2>
      <a:accent1>
        <a:srgbClr val="FF5F00"/>
      </a:accent1>
      <a:accent2>
        <a:srgbClr val="FDC92A"/>
      </a:accent2>
      <a:accent3>
        <a:srgbClr val="31A3AE"/>
      </a:accent3>
      <a:accent4>
        <a:srgbClr val="C5569A"/>
      </a:accent4>
      <a:accent5>
        <a:srgbClr val="FF9102"/>
      </a:accent5>
      <a:accent6>
        <a:srgbClr val="8ACDC3"/>
      </a:accent6>
      <a:hlink>
        <a:srgbClr val="FF5F00"/>
      </a:hlink>
      <a:folHlink>
        <a:srgbClr val="FDC92A"/>
      </a:folHlink>
    </a:clrScheme>
    <a:fontScheme name="Swedbank">
      <a:majorFont>
        <a:latin typeface="Swedbank Headline Black"/>
        <a:ea typeface=""/>
        <a:cs typeface=""/>
      </a:majorFont>
      <a:minorFont>
        <a:latin typeface="Roboto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White">
      <a:srgbClr val="FFFFFF"/>
    </a:custClr>
    <a:custClr name="Black">
      <a:srgbClr val="000000"/>
    </a:custClr>
    <a:custClr name="White">
      <a:srgbClr val="FFFFFF"/>
    </a:custClr>
    <a:custClr name="Bark">
      <a:srgbClr val="512B2B"/>
    </a:custClr>
    <a:custClr name="Swedbank Orange">
      <a:srgbClr val="FF5F00"/>
    </a:custClr>
    <a:custClr name="Pineapple">
      <a:srgbClr val="FDC92A"/>
    </a:custClr>
    <a:custClr name="Turquoise">
      <a:srgbClr val="31A3AE"/>
    </a:custClr>
    <a:custClr name="Lilac">
      <a:srgbClr val="C5569A"/>
    </a:custClr>
    <a:custClr name="Tangerine">
      <a:srgbClr val="FF9102"/>
    </a:custClr>
    <a:custClr name="Seafoam">
      <a:srgbClr val="8ACDC3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Tangerine">
      <a:srgbClr val="FF9102"/>
    </a:custClr>
    <a:custClr>
      <a:srgbClr val="FFFFFF"/>
    </a:custClr>
    <a:custClr name="Aqua">
      <a:srgbClr val="BBEAD9"/>
    </a:custClr>
    <a:custClr name="Lavender">
      <a:srgbClr val="D28AC5"/>
    </a:custClr>
    <a:custClr>
      <a:srgbClr val="FFFFFF"/>
    </a:custClr>
    <a:custClr name="Aqua">
      <a:srgbClr val="BBEAD9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ineapple">
      <a:srgbClr val="FDC92A"/>
    </a:custClr>
    <a:custClr>
      <a:srgbClr val="FFFFFF"/>
    </a:custClr>
    <a:custClr name="Sky">
      <a:srgbClr val="DBF8ED"/>
    </a:custClr>
    <a:custClr name="Iris">
      <a:srgbClr val="F8DBF5"/>
    </a:custClr>
    <a:custClr>
      <a:srgbClr val="FFFFFF"/>
    </a:custClr>
    <a:custClr name="Sky">
      <a:srgbClr val="DBF8ED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each">
      <a:srgbClr val="FFF1CD"/>
    </a:custClr>
    <a:custClr>
      <a:srgbClr val="FFFFFF"/>
    </a:custClr>
    <a:custClr name="Mist">
      <a:srgbClr val="EBF9F3"/>
    </a:custClr>
    <a:custClr name="Rose">
      <a:srgbClr val="FFECFF"/>
    </a:custClr>
    <a:custClr>
      <a:srgbClr val="FFFFFF"/>
    </a:custClr>
    <a:custClr name="Mist">
      <a:srgbClr val="EBF9F3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Apricot">
      <a:srgbClr val="FAEFE5"/>
    </a:custClr>
    <a:custClr>
      <a:srgbClr val="FFFFFF"/>
    </a:custClr>
    <a:custClr name="Teal">
      <a:srgbClr val="257886"/>
    </a:custClr>
    <a:custClr name="Tulip">
      <a:srgbClr val="990066"/>
    </a:custClr>
    <a:custClr>
      <a:srgbClr val="FFFFFF"/>
    </a:custClr>
    <a:custClr name="Teal">
      <a:srgbClr val="257886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Swedbank">
      <a:dk1>
        <a:srgbClr val="000000"/>
      </a:dk1>
      <a:lt1>
        <a:sysClr val="window" lastClr="FFFFFF"/>
      </a:lt1>
      <a:dk2>
        <a:srgbClr val="512B2B"/>
      </a:dk2>
      <a:lt2>
        <a:srgbClr val="FFFFFF"/>
      </a:lt2>
      <a:accent1>
        <a:srgbClr val="FF5F00"/>
      </a:accent1>
      <a:accent2>
        <a:srgbClr val="FDC92A"/>
      </a:accent2>
      <a:accent3>
        <a:srgbClr val="31A3AE"/>
      </a:accent3>
      <a:accent4>
        <a:srgbClr val="C5569A"/>
      </a:accent4>
      <a:accent5>
        <a:srgbClr val="FF9102"/>
      </a:accent5>
      <a:accent6>
        <a:srgbClr val="8ACDC3"/>
      </a:accent6>
      <a:hlink>
        <a:srgbClr val="FF5F00"/>
      </a:hlink>
      <a:folHlink>
        <a:srgbClr val="FDC92A"/>
      </a:folHlink>
    </a:clrScheme>
    <a:fontScheme name="Swedbank">
      <a:majorFont>
        <a:latin typeface="Swedbank Headline Black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White">
      <a:srgbClr val="FFFFFF"/>
    </a:custClr>
    <a:custClr name="Black">
      <a:srgbClr val="000000"/>
    </a:custClr>
    <a:custClr name="White">
      <a:srgbClr val="FFFFFF"/>
    </a:custClr>
    <a:custClr name="Bark">
      <a:srgbClr val="512B2B"/>
    </a:custClr>
    <a:custClr name="Swedbank Orange">
      <a:srgbClr val="FF5F00"/>
    </a:custClr>
    <a:custClr name="Pineapple">
      <a:srgbClr val="FDC92A"/>
    </a:custClr>
    <a:custClr name="Turquoise">
      <a:srgbClr val="31A3AE"/>
    </a:custClr>
    <a:custClr name="Lilac">
      <a:srgbClr val="C5569A"/>
    </a:custClr>
    <a:custClr name="Tangerine">
      <a:srgbClr val="FF9102"/>
    </a:custClr>
    <a:custClr name="Seafoam">
      <a:srgbClr val="8ACDC3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Tangerine">
      <a:srgbClr val="FF9102"/>
    </a:custClr>
    <a:custClr>
      <a:srgbClr val="FFFFFF"/>
    </a:custClr>
    <a:custClr name="Aqua">
      <a:srgbClr val="BBEAD9"/>
    </a:custClr>
    <a:custClr name="Lavender">
      <a:srgbClr val="D28AC5"/>
    </a:custClr>
    <a:custClr>
      <a:srgbClr val="FFFFFF"/>
    </a:custClr>
    <a:custClr name="Aqua">
      <a:srgbClr val="BBEAD9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ineapple">
      <a:srgbClr val="FDC92A"/>
    </a:custClr>
    <a:custClr>
      <a:srgbClr val="FFFFFF"/>
    </a:custClr>
    <a:custClr name="Sky">
      <a:srgbClr val="DBF8ED"/>
    </a:custClr>
    <a:custClr name="Iris">
      <a:srgbClr val="F8DBF5"/>
    </a:custClr>
    <a:custClr>
      <a:srgbClr val="FFFFFF"/>
    </a:custClr>
    <a:custClr name="Sky">
      <a:srgbClr val="DBF8ED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each">
      <a:srgbClr val="FFF1CD"/>
    </a:custClr>
    <a:custClr>
      <a:srgbClr val="FFFFFF"/>
    </a:custClr>
    <a:custClr name="Mist">
      <a:srgbClr val="EBF9F3"/>
    </a:custClr>
    <a:custClr name="Rose">
      <a:srgbClr val="FFECFF"/>
    </a:custClr>
    <a:custClr>
      <a:srgbClr val="FFFFFF"/>
    </a:custClr>
    <a:custClr name="Mist">
      <a:srgbClr val="EBF9F3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Apricot">
      <a:srgbClr val="FAEFE5"/>
    </a:custClr>
    <a:custClr>
      <a:srgbClr val="FFFFFF"/>
    </a:custClr>
    <a:custClr name="Teal">
      <a:srgbClr val="257886"/>
    </a:custClr>
    <a:custClr name="Tulip">
      <a:srgbClr val="990066"/>
    </a:custClr>
    <a:custClr>
      <a:srgbClr val="FFFFFF"/>
    </a:custClr>
    <a:custClr name="Teal">
      <a:srgbClr val="257886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.xml><?xml version="1.0" encoding="utf-8"?>
<TemplafySlideFormConfiguration><![CDATA[{"formFields":[],"formDataEntries":[]}]]></TemplafySlideFormConfiguration>
</file>

<file path=customXml/item11.xml><?xml version="1.0" encoding="utf-8"?>
<TemplafySlideFormConfiguration><![CDATA[{"formFields":[],"formDataEntries":[]}]]></TemplafySlideFormConfiguration>
</file>

<file path=customXml/item12.xml><?xml version="1.0" encoding="utf-8"?>
<TemplafySlideFormConfiguration><![CDATA[{"formFields":[],"formDataEntries":[]}]]></TemplafySlideFormConfiguration>
</file>

<file path=customXml/item13.xml><?xml version="1.0" encoding="utf-8"?>
<TemplafySlideTemplateConfiguration><![CDATA[{"documentContentValidatorConfiguration":{"enableDocumentContentValidator":false,"documentContentValidatorVersion":0},"elementsMetadata":[],"slideId":"637510499333422065","enableDocumentContentUpdater":true,"version":"1.2"}]]></TemplafySlideTemplateConfiguration>
</file>

<file path=customXml/item14.xml><?xml version="1.0" encoding="utf-8"?>
<TemplafySlideFormConfiguration><![CDATA[{"formFields":[],"formDataEntries":[]}]]></TemplafySlideFormConfiguration>
</file>

<file path=customXml/item15.xml><?xml version="1.0" encoding="utf-8"?>
<TemplafyTemplateConfiguration><![CDATA[{"elementsMetadata":[],"transformationConfigurations":[],"enableDocumentContentUpdater":false,"templateName":"New Swedbank standard","templateDescription":"","version":"1.2"}]]></TemplafyTemplateConfiguration>
</file>

<file path=customXml/item16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D8BEA7B581D2748B0255B02EFE85377" ma:contentTypeVersion="2" ma:contentTypeDescription="Create a new document." ma:contentTypeScope="" ma:versionID="4c3c49c1f9142309e80ae21c74b1cf6b">
  <xsd:schema xmlns:xsd="http://www.w3.org/2001/XMLSchema" xmlns:xs="http://www.w3.org/2001/XMLSchema" xmlns:p="http://schemas.microsoft.com/office/2006/metadata/properties" xmlns:ns2="51e9b6d8-3075-4cd3-a4d7-6248a584bfb4" targetNamespace="http://schemas.microsoft.com/office/2006/metadata/properties" ma:root="true" ma:fieldsID="fdbf0468d94097c465111b4d34341929" ns2:_="">
    <xsd:import namespace="51e9b6d8-3075-4cd3-a4d7-6248a584bfb4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1e9b6d8-3075-4cd3-a4d7-6248a584bfb4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7.xml><?xml version="1.0" encoding="utf-8"?>
<TemplafySlideTemplateConfiguration><![CDATA[{"documentContentValidatorConfiguration":{"enableDocumentContentValidator":false,"documentContentValidatorVersion":0},"elementsMetadata":[],"slideId":"636923061718326080","enableDocumentContentUpdater":true,"version":"1.2"}]]></TemplafySlideTemplateConfiguration>
</file>

<file path=customXml/item1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TemplafySlideTemplateConfiguration><![CDATA[{"elementsMetadata":[],"documentContentValidatorConfiguration":{"enableDocumentContentValidator":false,"documentContentValidatorVersion":0},"slideId":"636923061718326079","enableDocumentContentUpdater":true,"version":"1.2"}]]></TemplafySlideTemplateConfiguration>
</file>

<file path=customXml/item3.xml><?xml version="1.0" encoding="utf-8"?>
<TemplafySlideFormConfiguration><![CDATA[{"formFields":[],"formDataEntries":[]}]]></TemplafySlideFormConfiguration>
</file>

<file path=customXml/item4.xml><?xml version="1.0" encoding="utf-8"?>
<TemplafyFormConfiguration><![CDATA[{"formFields":[{"dataSource":"InformationClasses","displayColumn":"term","filter":{"column":"language","otherFieldName":"Language","fullyQualifiedOtherFieldName":"Language","otherFieldColumn":"iana","formReference":"userProfile","operator":"equals"},"hideIfNoUserInteractionRequired":false,"distinct":true,"required":false,"autoSelectFirstOption":false,"helpTexts":{"prefix":"","postfix":"Select which information your template should have in the drop down menu"},"spacing":{},"type":"dropDown","name":"InformationClasses","label":"Classification","fullyQualifiedName":"InformationClasses"},{"required":false,"placeholder":"","lines":0,"helpTexts":{"prefix":"","postfix":"Define who has access"},"spacing":{},"type":"textBox","name":"RestrictedAccess","label":"Restricted to (only visible when state \"Confidential\")","fullyQualifiedName":"RestrictedAccess"}],"formDataEntries":[]}]]></TemplafyFormConfiguration>
</file>

<file path=customXml/item5.xml><?xml version="1.0" encoding="utf-8"?>
<TemplafySlideTemplateConfiguration><![CDATA[{"elementsMetadata":[],"documentContentValidatorConfiguration":{"enableDocumentContentValidator":false,"documentContentValidatorVersion":0},"slideId":"636923061718326080","enableDocumentContentUpdater":true,"version":"1.2"}]]></TemplafySlideTemplateConfiguration>
</file>

<file path=customXml/item6.xml><?xml version="1.0" encoding="utf-8"?>
<TemplafySlideFormConfiguration><![CDATA[{"formFields":[],"formDataEntries":[]}]]></TemplafySlideFormConfiguration>
</file>

<file path=customXml/item7.xml><?xml version="1.0" encoding="utf-8"?>
<TemplafySlideTemplateConfiguration><![CDATA[{"elementsMetadata":[],"documentContentValidatorConfiguration":{"enableDocumentContentValidator":false,"documentContentValidatorVersion":0},"slideId":"636923061718169580","enableDocumentContentUpdater":true,"version":"1.2"}]]></TemplafySlideTemplateConfiguration>
</file>

<file path=customXml/item8.xml><?xml version="1.0" encoding="utf-8"?>
<TemplafySlideTemplateConfiguration><![CDATA[{"documentContentValidatorConfiguration":{"enableDocumentContentValidator":false,"documentContentValidatorVersion":0},"elementsMetadata":[],"slideId":"637510499333422066","enableDocumentContentUpdater":true,"version":"1.2"}]]></TemplafySlideTemplateConfiguration>
</file>

<file path=customXml/item9.xml><?xml version="1.0" encoding="utf-8"?>
<PpStyles><![CDATA[{"Styles":[{"Base64Png":"data:image/png;base64,iVBORw0KGgoAAAANSUhEUgAAASEAAAAuCAYAAABnPK96AAAAAXNSR0IArs4c6QAAAARnQU1BAACxjwv8YQUAAAAJcEhZcwAADsMAAA7DAcdvqGQAAApjSURBVHhe7ZyxzuW2EYX3BfMMaf0QeYQA6VO5S5XGTaoA6eLOaVIEqVwFBlLETdobHnpmIvIezpAUda/+f/kBB8buPRpR5GhEUlp/2Ww2m80befz3P4/H9394PH795Rd9+83j8c+/PuTnzeZydg5WPH747v+dQSS2IXKnklhZf/zN2zo7D36rbX/5/YdNAno9qjf292cHfUv7XCS2gs+ag6d4/Om3vENUP/5tqGMeP//E46jeWYSOTx+mf/3jQyYBvRbVLkKXMVWEPmkOniLqSHSaWLt4/P3PPM5BYn05rC2FBq/1LtBrUe0idBlTRYj4Cn3QHDzF43e/4p2hSr+LtYuwqCWJ9eWwthT6oDcsvRbVLkKXcUkR+hrHi3ZErX//2NUxeb3Ljq+VfHLIS3H3qqAfvvuQCUCvRbWL0GVMFaFPmoOnoB1Rq3OKiB1+enytN617w6Xizz99yASg16LaRegyporQJ83BaVAMaEfUStVbDnEJN7lVb9x8wxsI2qYP/IqUXo9qF6HLmClC4DPm4DTdRQgKKnT3Ugx685QzXzfeUiCJ8InCB3/60D5W7SJ0GbNFCHy2HJyme/kEpWmkHEbBq3x6HNPXuO69ENrHql2ELuNMEfrayPWB7QXnCkw6jypYkjWnmExf60dZF0H7WLWL0GXsIuSTV0fYA9M38Gy5maeDVce5cqaM1N9S542B8+WLwF5TPeB4y4C/G5jKFsfXctpE/arD/pZ1OktOXAN+u+DN4NO5jjpcV24fZr9oS/1pBtp8on02VngY1dePc+HvkG+DH78eWZ0PLfJ5dKlUnwPxpY+efq+Ug1UwnynFE9sT1K96QQ66fY8/a2z4IDYpYROZqBOf1Ng4G1qKQU5ng7xeHm0b/MGnBPQ4ldMm6lfJ0nJoaXviRmTQc6jkuobGqDHOjKmxgqTfergqH2ryDYybicWrlWJHbZKwBcxnkrFiUL/qwhzsuc4h1WMyHDwNkBxaMDyjSpJDC4aSoCXnBqJ+1WwCoOKPDL5q4EaPoPFVGOOZ9nUk6cy4F8LMwikUV+fDkXyzseM9of3s70USuoD5TDfLwamYkeqtGGqKRKZy4VfXRHJowbKLbtxA1KuaTYCJazdNTIsZNLbqovbR6fasGsunq/NBycsHdtxJSfgC5jPdKAcvKUAo2mnJJqf4BWqMVFXPqScI1HgCnupQVYoh4QqoVzWbAGdUD8gkNPYKNdq3tABBbK9AuDIflGhGMysJX8B8ppvk4PKijBkze9DkqS47IFI1nZqekh82044sq8BVsQTUp3pHAjjnHIHGXiHSvq69Jd2kxF4O/D05QsYLXJkPYFl8IjlFAfOZbpKD4XjhwYAHETbp8d/oQdF62OYEYQd0SEJkpp9UrSVTXRz1YtFeFf4cnZfsX1GfakUCoE1oG9T5dJVTnILFpVrQvrDfWzNcjKu3v5PiirXgynwA4XEQ+kr7bWCPSk5RwHymm+Sge1w1CVHyuDA/1LquPHjsAJU3OFJAwmmbFyN1Um4IIT89U/vkj5RwJpfOLVaD+lRnE4AMjjswIrGegsV90oL2hTlzdsxaBeyqfEBc5j2qtVzpuMHFXsB8ppvkIPOYUj+LrSDqf7GV5EpJzFkoHt6UTC42T7nZ7xAuPnUq/Q1yilAvbvwksRnMYzqTAI1jwxsjSaynYHELLWqfmxPkJme4MU7mxHA+RMuOxuwJ9OyFirWA+Uw3yUHmUYmFwvwqsZS4RQiDGXRyjuE9DfCU8ZLCGWCQOw/r9aiYOZJQBvOYziSAzAwZUdvFdgoWt9Ci9s2OQ7e8MbgiH6I4Tr+BaGkmtgLmM3nXz/xHLcxB975u7O+4E5IUT2wl7jRNOsNdTqHIsL8X5eODQgdPTU4277gBSUiDeUwnEkBslNEEmIHFLZT6VKxPjLSP/b5UJFnflg9JYmsStUtsBcxnukkOhjNE1A7c/1ie479eLYFSP0noErdhclA0/aZ/D8ksxx0ktkZHwnWstXslYQ3mMc0mQKvKC6MJMAOLawqWSSPtY7+vlpwq89Z8SBJbk+jNmtgKmM90kxzM/U5802o9BN2GaREKZjtNyevQntnSkZUJB0lYg3lMswngHAdGE2AGFte0sH3s99WSU2Xemg9JYmtymyJ0QQ5G19YtqQUUeoAqFQ+xzSWeVL7obUo+gdB10Zj2YXal8mZjSRLaYB7TjRJgFBbXtLB9UX/nWCclp3p/PiSJrUk+JzlOJbYC5jMdrr+G+lXOcSD3LTtOJLYnwmVWJK8AAXqQ6vA6dLghx0SK3iAczxN9f0Fe3452LvOYbpYAI7C4poXtc73Bsm+Ul+RD4D8+jBm32Zh2jgOj/QJOFSCcj4xPQVgcDgGGl2TV7jn1qI5FiP2u+p7/P65HO5d5TDdKgFFYXNPC9kVP/tabkxlofNWqfIhuNNnbZIT3UJJYC5jP5IwV9asWjjFovunC8hh9Vi+T8WecA8exf57BGFkmAeZpqmoE9agO0zX6uyolv9gKqPcgsRnMY7pJAszA4poWti/8OBWKpuCJnKxYOjkJS2OrVuVDzwOWFNbbfay4OAfptWG8WhvMMwxvGEdTY1VqvBxiuB1wSCb6uypVX7EZPXsGYjWYx3STBJiBxTUtbl/kz4IHOXZI2jxz0OKjPiR7I7GLeLUW5QNgviehnZgFQr33QpKcooD5TM5YUb9q9RgTD7u3T5E7k50IYoWkY4CzyBPK7YDDtDoPNPOojku3jqkwJHaDeUw3SYAZWFzT4vZFs+hhNQrRK/IBuPfCSckpCpjPdJMcZJ4sjIkWYybUicO4uOQD2EkgckFIEuqtddhLUtx19+Fc4QdSEDohSs6DJLTBPKabJMAMLK7pgva5+TMj0sZX5IMyEmNEEr6A+UzOWFG/avEYj8z2mkIMryC5J0m/ia0gupDW25Hegtdd6AYkoQ3mMd0kAWZgcU0XtS/c1B0R8rGaDb0iH5TemdSoJHwB85lukoNLZ7uNlwh+o1LREFtBc8dc1XpjERwntkz3sk81EBswj+kmCTADi2u6sH1LZkRk41e5Oh+ODBci9FswY5DQBcxncsaK+lUXjPHShwzZw/M/OmsVoejNSGPqFVVVsRndnwTANxqbeEw3SoBRWFzTxe3LN28QgwpJ7rwdU67Mh5qc4z3XguUbZmpBEZawBcxncsaK+lWLx7i7z0dU1wdqUjWKCfDWzmJ5IkqMehoO8gDjKVh3Hv6Mp93hmOL3SmIxmMd0kwSYgcU1vah9+QbG2GB2wGLi71B4qvHr4ap8aJELK/akgvPNFD3mM6X4YnuC+lXOceDpOiqJLZP7mnhOq7HNs9lsNgXuCwG2rErYQ4Idc5DYN5vNps3MVo0SvdEU22az2bRhxcPUetMlzOyRbTabTQErHoXIt4AgL8m8760an/BsNptNQbSJnYUXDNgDwsY8hM16bxkHNfaTNpvNpmD426xeNWZQm81m80TXbGhEwV7SZrPZFOT9neBr8G7tArTZbGbJX07P/uNezKacD583m82mm/wFufc1vBYd/SLe/ec4X778DyIt4cb2sLOpAAAAAElFTkSuQmCC","Name":"Main heading","Paragraph":{"Font":{"Name":"Swedbank Headline Black","NameFarEast":"+mn-ea","NameComplexScript":"+mn-cs","Size":36.0,"Bold":false,"Italic":false,"Underline":false,"Color":"255, 95, 0","SmallCaps":false,"AllCaps":false},"Alignment":0,"IndentBefore":0.0,"FirstLineIndent":0.0,"ParagraphSpacing":{"Before":0.0,"After":0.0,"LineSpacing":0.9,"MeasureInLines":true}},"List":{"Visible":false,"BulletType":4,"StartValue":1,"IndentLevel":1,"Character":8226,"CharacterFont":"","BulletStyle":0,"BulletSize":1.0,"BulletColor":"Black"}},{"Base64Png":"data:image/png;base64,iVBORw0KGgoAAAANSUhEUgAAAK8AAAAgCAYAAABkdCh4AAAAAXNSR0IArs4c6QAAAARnQU1BAACxjwv8YQUAAAAJcEhZcwAADsMAAA7DAcdvqGQAAAZjSURBVHhe7Vm7jiVFDL0/yDeQ8hF8AhI5ERkRCQkREhlkuwkBItpohUQACWlTx5yuqTp2ubp77vTcWfWRLM362PVwuVy+vbcLFy5c+GSw/PVhWb7/clk+vy3Lz98sy79/L6QeH1js8u6Hpw1A8Pcfv5y2CZu/EarvjrPmeTRk++7OHfJW4mK3rl24CjZ2wk3Ueam+O86a59GQ7Vs5nDmpx8Xyz5/9okfy41dX8r5xZPu2VqHlf/vpDSSvLvrbL5blw3trF5avP+u5oqfbi6CbqwjVd8dZ8zwasn13beOJreKz4BK0VGJST+0ENvTx9xffULeOIlTfHWfN82j45PY921CbzC+N2VruhbPmeTS8xX3XFyF69XVDZyarQtdC9d1x1jyPhkfad01KtKntuspvK2tZy0vftbTFjq5PcJ9IDvww6/yLUO0wsxvxthmsc21xsOFfvzt80YbzrAFrWykEc0PLVH3beGKd62FMvtbYYZYfSWbfzo/xoN/iv/asA9+qp5hjg4wfcbZvXfMkZtOvWyPR87bAqhGCvuHAVqg/1Q4zO+Vtk3ozVQ78iHRj4OARcNW3MvgRg4B2CZPJYK2WdJF9K0iOEg+6dLA4tcmjQl/V070i45U7GjPzi2xHgrVnl38YfFSSDdVN/ah2mNkpv1kGhzqC859dkFVknighphIUBffFJxM5xENroHCIioxX7nDM9KI2hdKquI47+2RntyFbDJ7oUeYXqD3VDjM75U1w8/D0YWMQrCWw4RCb4PxXwdiYA58Ko6pSkoxDGFzMUATgy1jZWJqY2I8mIKo3OMw526scZlh41n1AMJ7yFA5RkfHKVXluzGYFoeyPVI70+cKkgwRWW6odZnbKj+YMq82O9sH5Dvxd4pX1kPLtVjk4Ug4uroPnlH92sMRofZvDdBxEkgHA2C5pipCuyHjlTMr8pCuymAEZt0LXSvUcttHoxkMGt0DtqHaY2SkfBWeFSwi54Rk6v8S3VsRGSN1clUnaK4tpa5skeoTOtwjVN3dOJSakHKJEJ1WR8codiRnQcaN8kteE6u2wRQS3NawaYkO1w8xuxrc4/LwUdH6QpGqrLdX+P3f2SNDmWLyRjHJwkdDFtwxB1W3R2RahuiLjlTsSM8DllLw47qIPqvMUNpAeUlA1Or4I1Q4zu47fkIydfRGqp1C/tGqKLdV+jJ3CYQyuBZkI3Xbvf1bRWk555Y7EDHCvhVRw13Ykr8kUUWBJVcx4wN2owK7jT0xeqkOMbN2lRmLsEA4T961oSdAWrSI8XXfv3+ZO7FtO+YxTZLZRW2GxxNqi10wqcwcLXhNMxXN7pRX3GmfFPdsGqkOMbDURZk/2CK53Dj4NdXwRql+1baA6xMzW7TkSJPJoP2vSVuNBeXaVtwxKqqLjIcGTEv0IJFWhPNZIysFVpGf8YKM6xMjWfYLaMX+LbowiVFdkl37PE/vc4pFxipGtvb5tz4v802qLxA5+V3Ww73KtE0S/IepkkOCQnI0EMXwqipCucDYYN3g2XNWFJImuUF+qQ4xswz0Ngm6JM6gkbgy5+FGVIhWfYTRHdI5FSFdkfMYpRrZdsZy8ElOE5RubRFVDpYx6kCBJXAWAQIdDQ+WOxilC94rIxnxR5TAWJKjgWDOH2AT1pzpEZhuuBQeEPa97bw8suIwdv9ogKeEfxbUIXQ1RUtq61nghdgfjT7Uh4xQj204ftEe7MLqRQylBoWsHC1Jk30owD90rlN8sO2+x+lMdIrPdHT+IvFyW4JFdInQ1hK/QRuEQFRmfcYqR7egydoKLhgsN29m52gFEFUQl6aeA9BBwwJhH9HStUN6e5llyHHh+dAyqQ8xsbV9bfoBABjF01beVIK50q5gmMGIYtDl0r8j4jFOMbKMcmMqgYHawACCJ22RBUKGTPmwEq8DtQWIstCBl0caveoo5Nej44kv1/z+O2gPG3824e9HNU4TqEFtta/zada5VBOufrNVs2tgjjryY+uybg8ASAzHRODXPczd+ME7LKZ9xipHtoeSFlAvMIS5ceB3YBZ0kpRUBuWS4hKQvXHgddK9CEaodogpN6sKF14Em5KgdvZL3wsPBtQP4t37XRuLqVwn5QnPhwumwH5RtUq6CdmKViOcP1wsXXhXDBB7Jx+3/c3rhwovDvjnrZ71V0ErgMyG+b5cWgi7E7fYfXxMVihefioIAAAAASUVORK5CYII=","Name":"Sub heading","Paragraph":{"Font":{"Name":"Swedbank Headline Bold","NameFarEast":"+mn-ea","NameComplexScript":"+mn-cs","Size":24.0,"Bold":false,"Italic":false,"Underline":false,"Color":"255, 95, 0","SmallCaps":false,"AllCaps":false},"Alignment":0,"IndentBefore":0.0,"FirstLineIndent":0.0,"ParagraphSpacing":{"Before":8.0,"After":0.0,"LineSpacing":1.0,"MeasureInLines":true}},"List":{"Visible":false,"BulletType":4,"StartValue":1,"IndentLevel":1,"Character":8226,"CharacterFont":"","BulletStyle":0,"BulletSize":1.0,"BulletColor":"Black"}},{"Base64Png":"data:image/png;base64,iVBORw0KGgoAAAANSUhEUgAAAHkAAAAWCAYAAADkWDPGAAAAAXNSR0IArs4c6QAAAARnQU1BAACxjwv8YQUAAAAJcEhZcwAADsMAAA7DAcdvqGQAAANjSURBVGhD7Vi7bhtBDMz/+GvyHf4KF/kBV+lcpVKTykUaF2kMpDFSqVMVF4GLAEbqC2ZBGnMj8o4rHQQpvgEI2HwtOdxdrfRhxTvBx6urweXL7e1g6v8C6If7M/X7A5OwDnmMX7vd8OPhocn3+/uz5KZUI5OwDnkMjj1Xbko1lpwuFOuQDSWnC8U6ZEPJ6UKxDtlQcipg+/Q0fL27Gz5dX4/y4THw5+UlzPv7+bnZdRifb27aQ+Lv6+tkPXh0fNtsRrH4H3rYNW8LmgFiOSYT1GchI/TwgP45p/KvvTkf3TWyUhepAIVyQ5mgeQtp0AFkgvwWMgJIi/xdQNAph3woD9rHbrttdq2D1zvpkHUncp6oYW8AwG5XeyTIoyf65+Nj6DsnFj6JQ4Z8DA/ojW3wh543qOscJx0yFwJBUh6IFsPFolGP4dMKPa5rjsNQzbxHCgQ5/CqEHadFfSAtQQc4doqbY3gA4M92PQC8KRTsl9ZYcgrgQ3JBoWYaQRvUXWx/joCBcQzXpae4ui7ETGVwbMbNEjwA0YmHzM2k5FtyCpA9CiLwyUScqSeBWji/qVN9BL0RTF0Gx2bcLMWDbhaX7E3iYN/Fh8wFz8XxdVRdA34eAzF1V716DZq6DI7N1lqSB+0ZjzIzpWD/dP2SUwCO6xVL0a6w6BUciYWc3ZDZp1csxRuUB3w2mykF+6d8lJwCcFyv4ErThubElu2q95KGHL0hINCbSwj2XXzI/FDA3yC0Kvo5hh2LFzEacsk+T3VzmDrEKT6Tj+HBUjRkDy/0YC4h2HfxIeugph4I+hjhuKwJbdrUe6dTyXJEJ8NMZXAs6jH1CMfw4NBvDPoVSn9AYbBfVuMe4XyaIvHvo/o1BwLCuUn4oAEszq9JjfOcAIhQ4iBmTtf1HIhf6nuy3gSoC/ld4HMMDwDycCwOGnS6yX09RaXGPcLnhE9ORmYm3mD0axeK1auYpS1oQA2Rz5xYeBlT6/DL91AeAP1Z0zeH5mTeGaUaI+OU6GLVBjFAbyDa/SzYBLpD22IEJUcFdepmstAuaB0u0JtLwxI86CnXTe+3lWK2xsg4JdGOwrWA60iLwiIoHNe8ub4BMRiUF6i+ukNbkAC+iGG/3hwVoDcmMrp2gV4e5oYIf7Zj05ppD3GNm+EfgiyZG8OEiHoAAAAASUVORK5CYII=","Name":"Lead text","Paragraph":{"Font":{"Name":"Swedbank Headline Bold","NameFarEast":"+mn-ea","NameComplexScript":"+mn-cs","Size":22.0,"Bold":false,"Italic":false,"Underline":false,"Color":"81, 43, 43","SmallCaps":false,"AllCaps":false},"Alignment":0,"IndentBefore":0.0,"FirstLineIndent":0.0,"ParagraphSpacing":{"Before":8.0,"After":0.0,"LineSpacing":1.0,"MeasureInLines":true}},"List":{"Visible":false,"BulletType":4,"StartValue":1,"IndentLevel":1,"Character":8226,"CharacterFont":"","BulletStyle":0,"BulletSize":1.0,"BulletColor":"Black"}},{"Base64Png":"data:image/png;base64,iVBORw0KGgoAAAANSUhEUgAAAHcAAAAdCAYAAACQVvO2AAAAAXNSR0IArs4c6QAAAARnQU1BAACxjwv8YQUAAAAJcEhZcwAADsMAAA7DAcdvqGQAAAOnSURBVGhD7VnBkaswDE0/W00OFMKVKtIAJaQGrumCS/rwt8BgSciSYb0L2e83o5ldYmzpPUk2cKuouBTefePuX1/eGvccnQuXKyS8OiBKt7Zp3KMf3NudT2YVdwdyxI3mRR7OJfQMcd3QrRycHT+G6VcU15M1jO49MhsG9+wWQsO4EyumihuxT1yFrDeaqO3HKu4FUExc5wb3CBPdm/60/beKG1FQ3NE9mzDWEPc99O7hD2HLwmBt001tPwxRsb2/cW3nD3TeP0lcHKTWVeK9tkgkmUWT+QKeXn3nWjw2cSCla3TuJXBKePf28Ntktl8lK5c7IpqVGEiArXmS1v0fiZvZVWKsMpEYR8R1Y09F5eYTnK+LE/PuEzhcXsF/3+VXtrhGdXBh2653r/Vgxg5lqeTAgYCQkO1hjk01MH+tOAgpAokasF+piqfCwlPFErv33Yg95TsVUk+MQ215bjO2MLjiUq1RG7MJRPKFEUiIsJIvQ6AUrHtpYss8alsCiR3xa20jO8S1bdr3pIrDwSltURtnibMgBqxkuVoddkvmMMXN8N3qHHwNksiJTlNU3GnPMCpKEwaQEsfqIAtS9wOyhN/ZkgEWibm+awlGq7/zZ4vl7/ScO8T1k0gvMWDPIPvddjFzEQRpbG7lAzRxU0m2xz8J2v3HfJe7B912ZtOKZZ+4StZpbU8jnEMSoJi4iXksUi1ki5ttaZ6ir94MLoqJC0gRexVxAfx3MveBlgz4TXGjHmB6MhYVNzVZvH5sjpLi8uTB/4sEZCBbXO97fPzTLdxOgNdZ7FfaMiA1mVSNKaTEiX7o2WqKyyo1jj/WkgEWibm+a+BJ8jTiBBQVNxLFxDUeQxZoFWo6GmCJC8BjWiR0+Hk3LN9yfdfAuc3htJi4uDqlDMXOpapXG0OCSVQA9UHJaDJutqOkA0xxue+ppJvmmd9ehUsTiL8oCfG6Eqf7xBUfheZXh5gsOUBUld7Kvn4czNePHDEusOPtEkCrCMSbfYIPGWGI4rsQPxaQ8EZj0n4DmH5REmxTN3gmsGhK2wbg6t6aD9CLvP6tiEvI/kZLXiDxxJMcKpN3DG7wli8Mn2B1PFLVAneqX1niNvGT23STgZ/85BdFM8RdSdHH5QISl3wA8POKHcxXz9RlSJKD/3MnC8Mm0O0j3V2wRnzNXL/+FNaKMDpFxYcBbw/aNlLxgcht3RUfgulEPbBTdYGDVMUFsD0Yfu/xp+JCwOLOJ9P/Wdjb7R+FMQmxerAKewAAAABJRU5ErkJggg==","Name":"Body text","Paragraph":{"Font":{"Name":"Roboto","NameFarEast":"Roboto","NameComplexScript":"+mn-cs","Size":22.0,"Bold":false,"Italic":false,"Underline":false,"Color":"81, 43, 43","SmallCaps":false,"AllCaps":false},"Alignment":0,"IndentBefore":0.0,"FirstLineIndent":0.0,"ParagraphSpacing":{"Before":8.0,"After":0.0,"LineSpacing":1.0,"MeasureInLines":true}},"List":{"Visible":false,"BulletType":4,"StartValue":1,"IndentLevel":1,"Character":8226,"CharacterFont":"","BulletStyle":0,"BulletSize":1.0,"BulletColor":"255, 95, 0"}},{"Base64Png":"data:image/png;base64,iVBORw0KGgoAAAANSUhEUgAAARUAAAAbCAYAAABSkxsmAAAAAXNSR0IArs4c6QAAAARnQU1BAACxjwv8YQUAAAAJcEhZcwAADsMAAA7DAcdvqGQAAAXJSURBVHhe7Zw9juM8DIbnPnODvcUUqbfbPq2B3GHKr8kRphpgW7dp9gRbpAn2GvxEW7IpWaToH0V2oAcgdhD/iKSoV5Lj7FulUqlUNgDgDl+nd/h4N3a6wgMA7CHx2B5I+XdrTt2xc9PuzncNj7aBs4uvswZuNo6jx4bsvb7msJtYbo11QrDz6QSf13yF86qiAtDCp83hx/sJvu778j1FvDZ6UTl6bI4qKhnQiMpoRlza7R0tJSpgZmEX29K4Uv7lms238F2C3v/j1MBXe4fH3ZqNo/RK5Rn9dyR2KCpmtqGF46xt4csWz3DexrPSK4tKLnKLylgX43Znb1RR8dmnqAhigXtr14Hn631TZ6uozCenqBxloFVR8dlNLFpR8fbQWw9uIRk5E1VFJc5RBloVFZ/dxKIXFd5hKjjSKoZbUsv31iUKz7tdGzhbP/rzpw+Y/QeMMZu3vdvC90d7hU/jK/WjeziO29GMvofA/ernb2Lj/eW4iZ+NGe3YN2QLHauRUjnQ9lEXg6K+EK3Ypc6b0yaijaUD/v0G+NOb/Wgztlip0GMlRCU5GE5je88sypTveJwOtqhl9D0kj6hcx/Os0RopnYNUHyFz6gvx429ZX7jxgMxtE0nGAvAX4PsXwE/zZ2gX8/m/afBLUIsKUdVQOGgSny0qfvLtzGYfMnvFGrs28/I55fvjSmZvM/huwwPy4OF4Jt85ksVpkOOODHycYZumM/xCwJ5aPAe56ksSDEQSnqVtirF0gnIx/8QEZbAfZuUydXYuKVFBR2+k46OJLyQq3jHGf1q0YeGVFBXNbCb1zZFEhauJPeRA3X8z62v0jRlXjO+r2pT6Db6NYESFJLRfkwbnMnZa2rj3EYqJCumYJYX71KIMj5HZiPW9NeeYGb5/tuD7t4XvHGJxWuS4Sc6Z65E95CBXfaXGxCgMwVhY1SYTC8DviHgI9v032rCWOaLS7eNiqptIoGNrUZFmMQrbbklRUQ48jsOICrMCQfaQg5z1NXw+yQ9pM8jPmjbZWOAP8xyFs8sn27AGLwiyd6PmP4GeBltCVKRrQjSzwrNFBaHLWMyre6ZgD4u8gqggpXPAxaHJgSNdX/6YoSs06vfaNtnr9VsfZ+u2QFpllGaV4qKitqBzC4sK8gi/MnTWLfeNqEeuQV5FVJCSOeDi8D5XW1BfzLhgRWhlm2yf7FVUkDEZuuSFVFGJt4Hn3a7T9zT665pov7ySqCClcsDF4X2utukYGmre3tu7b5CbtW1ysZTd/kQ6jsJ1YnFRMZ+PX0XK1t3UshdRCYHw69QgX8iriUrIs3LAxRF+vqS+kHGr048vbuuDrG2T7RPd18nEVn6tfFRRQbj7admrqDiof2FeX11UHLlzkLO+EHp/9H9Y7TN5XdOm2G/q1cpl3SoFmSMq4/aHFxWpiLYWlbVFlbsopWOa4pHE+hVEZQ85yFlfDiokXzbmMBbHmjaT/ZYUlg0EBdGKCl22iaLAFIj6+kmBKosX78n43//Cun/oZz/qKCkqtO0lBbZVwceQ/Hao+0UQlT3kIGd9OfzaR+PH2po2Nf3W/+bnv+DB7QXfpF33bgrFExV80j7Zs/V7W5qUWAfSVUz/Pot//XCss21EBaGF1SUZf2zFtR0UuNeBg894faQzGJb67h0z5r+iHn6N7+cLSfku7d1TpHKOyLEpRSVzDjSkYl1TX44wTi6njqVtavrtKYyiojN2RgkTNzGTnCEZfoFIydAkqvt/VId24oZvA9vTPWLxzxmEa3zvBoWYMzR+VpN8P4KoIDlzoCF3fTnopMuNIcqSNjWxPAWVqJzwpaT0DIBBdbOLVyT2WhPgmNhtRQUBo+LxtvvZz542ofPZW0nhklLfGVv4HvvZv/QTd4fk+1FExZEjBxq0fbS0vhxjf8iPGShz29TGUqksYlxC64u4UqlUWIYVaJ2xKpXKWuoqpVKpbEr3Nio+B1M8EKy8Mm9v/wMDntGIW0xmdAAAAABJRU5ErkJggg==","Name":"Bullet list, first level","Paragraph":{"Font":{"Name":"Roboto","NameFarEast":"Roboto","NameComplexScript":"+mn-cs","Size":22.0,"Bold":false,"Italic":false,"Underline":false,"Color":"81, 43, 43","SmallCaps":false,"AllCaps":false},"Alignment":0,"IndentBefore":21.2598419,"FirstLineIndent":-21.2598419,"ParagraphSpacing":{"Before":8.0,"After":0.0,"LineSpacing":1.0,"MeasureInLines":true}},"List":{"Visible":true,"BulletType":1,"StartValue":1,"IndentLevel":1,"Character":9679,"CharacterFont":"Arial","BulletStyle":0,"BulletSize":1.0,"BulletColor":"255, 95, 0"}},{"Base64Png":"data:image/png;base64,iVBORw0KGgoAAAANSUhEUgAAAQwAAAAWCAYAAAA1tqLaAAAAAXNSR0IArs4c6QAAAARnQU1BAACxjwv8YQUAAAAJcEhZcwAADsMAAA7DAcdvqGQAAAWCSURBVHhe7ZsxlqMwDIbnPnOaLVJvt31aTpEL5AjTbkubW6TJPbyWwUYWkoUcA7Nv/L3ntxPA1m9JFuBkPzqdTqfjcc+7u35+ul+fg3s45+bD4vGjKNl/jaN7jM/DNXXqseTT2bln5VS9zo3uFowL7XJxt/voXs82wqTJnh00Udc4JF/cxuN1deqw5NPZuWflVL1ZwfDF4YpbPB7axX01KBriwmzshNf9Mukexk1jibqify7v67Jq6tRjyadTF2AFp+pdCgZfENxzdF8XOO/b5e5ebwoUF2ZjJ7QqGC3pBeM4LPE8dQFWcKperWAALQVKY7V2Qi8YPxtLPI+IfUtO1WsrGPk12gJ4DNDn013vy4ahNFnNCc493eM++FelaczQYH8FbUbCNelpaNXKzq3RBfZeI9HkfRT2fOZr39FUYottyhYfUpr2EbThPAr+GubPoflXY39cnBM8AXPXK/mEaZF7gD6OvNYsftbs7MqmgpE2/nKBRxWMkETIkdMeC/o8249Ovw2+xfPgdPg8lF+nrLqoJrCTB3u6/h1NElttz5cHtvoQE3KjZIfto2lbz3nJI+8T3C/+Hc4J+vA1tE9oa19QWuQegK/lNsjTOiI+sMampHd3tIIR7mKzcOqEowpGHAfsZI5OfezaKFZdaXw4jvwGd7yUxMS2VZNEjW2rD7MkpgmO7ODYAsmO77PSFseT/ML0g/ybzuX5mesr+IHJJ0rL3CvFmFsPgDk2Bb27s6rSbPPBYh6NtAXAOUiarPV4RNKgaaNY7UvBB6Q7iVWThNV2jQ+1PjV2lvP54k/2ib8AXBj4POJvdJoWjHStNobFb9KNuaWNQ8gKRngUwm0+Hs55cSQw2gJoUTCiDW5xAKnfm4uzVheX5BJWTRJW2zU+1LRC3nyR16ot8+NyQutX7CP4QIobhxZji9+WAkcKg3ITMdkwzK052isJOOCRNpWERWMItDRZ6XgcQ282bRSrLvpkdvUF9Uv5gZtVk4TVdo0PudhpbOnD+aAmjzRblkW1V+5hbdwxoMYGq9e5v8799v+Y2p9MzBa0ggHgx8Kt72sAF1TLwszeU72+/OmHNj5oexUMIBbT6TxqXg+3u23VVGKr7VofaguSIuUIhbvT1uSRpq8UN0rr3EvjzXNcxiJPHZU22Ll9p4IBcAHau2AA1sSNHFEwMO7pF/B4dzcf3GCX0dyyYGA02zU+3KsP54PvWDCAGh8AtECk8cnrCFBjwzK35vwvBcO6yPYuGLBIX77NHzOSbeF91ToXitV2jQ+3aJ102ObXKo+0PpZF1Tr3gKgPNMe/uSevGhuWuTVn2yvJ8s6cfb0jbOQA+HHrnYKRbBT0cYtnS/JiLLo0n0ljWTVx1Niu8aE0h0g6j2K/2BH6CNo1v3AFY9FniwGHdG1t7gFprv5VYvo6WfDJDrHZFT0B0f8loQ5NwqGQoGD6YrFslL5ZMLL3PH8OaQx2YiUnyZaSkClmHFZd6c7gx19pQufYJwxG0wteKeBbB+QrCavtGh9mfYje2t9hpPGkWBkKBlCyFfXRuHG0zr1I0gdNuKYqNoLeQ1gKhm/ZJotv8XhosJm2Fpc5xV+TfRU7t3cKBhA04nFnfYuNdbFbxpvatVDBAauu1posTx9Vthv0CTmBPzNaeTv48zq+tQUj2IrjhrG9rdXfa3uU1rkXWZ4elI1go42S3t1ZOX3VvPghr+CYqQouvwaFFr7m89dzgbYuzEiygx0btOW/jsPgX6mWAgvU6JI1yf6SNMVFQxeFRI3tGh+yfSC+zLdAEb6Pv+Fs+L8k86EMqWAAYIv/vycxr/VFtUfuAcva2qDBYEPT2/kBxEVRuhN1Op3OcscgewWdTqezImx4+kf20itTp8Pz8fEPobgkR2YDoUYAAAAASUVORK5CYII=","Name":"Bullet list, second level","Paragraph":{"Font":{"Name":"Roboto","NameFarEast":"Roboto","NameComplexScript":"+mn-cs","Size":18.0,"Bold":false,"Italic":false,"Underline":false,"Color":"81, 43, 43","SmallCaps":false,"AllCaps":false},"Alignment":0,"IndentBefore":41.3858261,"FirstLineIndent":-18.4251976,"ParagraphSpacing":{"Before":8.0,"After":0.0,"LineSpacing":1.0,"MeasureInLines":true}},"List":{"Visible":true,"BulletType":1,"StartValue":1,"IndentLevel":1,"Character":8211,"CharacterFont":"Arial","BulletStyle":0,"BulletSize":1.0,"BulletColor":"255, 95, 0"}},{"Base64Png":"data:image/png;base64,iVBORw0KGgoAAAANSUhEUgAAAM0AAAAUCAYAAAAujbmOAAAAAXNSR0IArs4c6QAAAARnQU1BAACxjwv8YQUAAAAJcEhZcwAADsMAAA7DAcdvqGQAAASlSURBVHhe7Vo7cuMwDM19coO9RQrX223vVjO5g8s0PkIqz6RV6yYnSOHGk2tgCUogIQiESFGy89Gb4WRNSeDD55EUtQ8bNmz4BYC2gafHR9gfL9B3qX1r4x5j1uKenK/HXdbYXzGuq3Ii42rb7eBwbOEKUDWw5sA9Aq2NSYXx1LQ341GC0jgt6c8mmgTIuBdI07DWB99fO1YJR3Og1imAC7zukF8D50xu2pjXO/CQsGyUxqnWH45NNAmQcW1misl8hEP7M0VTi68mmiWxiSYBMp5aznMDZ0FzoNapTTTr40eLBt7fwLfPj2LSZDwlmnODyRyuNFYwtfs1ByyncIux90XUtf2ugddLZy8WmGy7cE8K2pgpX/w4fIuK9zRHOC/Ag5Bjg3MexcXxkdtmzZ+YE+YT23Ijj7N7bt/bxfHxXRb7pC0Nc3OJIL7aTiZld8omIskJTv8A/jqfeXt2fZ9jAimQcU00tD9+cqT4DLimaOj5+I4Vk0k2r61LaHuEgw+cKzD/e/rAQhtT8wWghUM/JibE83B8PC9W0HN5cEzZCPkRfEKBi/dNSzShOV/2/XND4bp++T7rmsyRRE0u4XLs+pT6656P8Ubk2ESonOBdEUxo/0YEUpBJGbXM2YxATs0RTSr4cOmLWMyOqS1NCpp9zZeUf9TPEzyHh4RlI+ZnWDzxmWG/KRoXP1opCcG+EB8Xk4yDRE0uU76HiYvnPNOm75P3Any4FcX9UQXTt1PeVi0GTZ6exdlsL2aBNUQzVXxy1pm6X4PGwxIN9wGBY+IqcHbbnL5rFg8Jy4bGmaDxtEQj/UFY16w8c9TmUvOjuj5k3ODzoAuFt+fDyLAGMj71TsMDZwVTS4KW+HFQ4pbIamR3TrFqPDRfwpYBG+6X8VtVnwyJ7yyaKe5Wnjnqc9nfz2pwJIJSmzJutxRNKCC29K0imlCo4xWPt1usNAhc8uVBgOcm7/vWoqFCXFg0hblEdBw7HpqIiutDxg3gTRcKby9vYUALZDwpGnJgbdEo41hYWzQccMHTpXhiM/DjW4vG5j5bNIW5RJAN5Mj/3V8utqnGDU5/dLH45q5lnqCR8buvNCGBwxfbFNYSDdo9+1lrnBwtFnN4SFg21OT3qBUNorumx3y+aMpyiQiicHXYcRrGotRmMm7wognH9b3nEUWQcU00kehw8PCMUH04xXCtVDQISpI2m+DxN/9/cLMSY4zJ+5IzsymaMQ+8dnWrVP8zCdOGwpmwhGiSuaQiFrY01OaSQDx9U+qxqD6MuLn3G7dVw+81L66d8rZkHDFocq8Yz7/HAY1iCs+5v/533+aIZmDXFVD3zYB9yBKBDEH23y7Gx6kSVnIHPML+2fXTd5rE9wBEikfXnyfqlA0r+UuIBhHGDjEf5lIbm2OJXCLIDjZV4AU2rbhVgxMdNRSEMiMgvAOD4OK9bmZVEqkGNeEU2pVffD0PdsxL8LMhC+JUcWpjakWGoIOAMHHgPa6gNWGmeJSIJmXDSv5SosGY+3c2P3Y3vs+7MTbHErlEBFEoKwkh16YVtw1fFKEAKt51Nmz4VaAt3jbTbdiQiW4Lkd5mbLgVHh7+AyvKRsJsaCo/AAAAAElFTkSuQmCC","Name":"Bullet list, third level","Paragraph":{"Font":{"Name":"Roboto","NameFarEast":"Roboto","NameComplexScript":"+mn-cs","Size":16.0,"Bold":false,"Italic":false,"Underline":false,"Color":"81, 43, 43","SmallCaps":false,"AllCaps":false},"Alignment":0,"IndentBefore":55.5590553,"FirstLineIndent":-14.1732283,"ParagraphSpacing":{"Before":8.0,"After":0.0,"LineSpacing":1.0,"MeasureInLines":true}},"List":{"Visible":true,"BulletType":1,"StartValue":1,"IndentLevel":1,"Character":9679,"CharacterFont":"Arial","BulletStyle":0,"BulletSize":1.0,"BulletColor":"255, 95, 0"}},{"Base64Png":"data:image/png;base64,iVBORw0KGgoAAAANSUhEUgAAAMUAAAASCAYAAADrAxpnAAAAAXNSR0IArs4c6QAAAARnQU1BAACxjwv8YQUAAAAJcEhZcwAADsMAAA7DAcdvqGQAAAP7SURBVGhD7Vm7rdwwELx+rgN34UCxa7hUgHtQAyrhIgNOlSpxBQ4uEdzGmktqxY+GFCVR72w8DkDgHR85u9zdoUjpVlFRcTGmvqGv9ztoDT3agSYimofuguFt6Pmy81FfaSAbNLS6rxuus4swKbsPiWfTH45lSRAN1J3w5yNymINL/TDkd3r0A43D3Pqeusb0lwzeRwQU2tWiuH+oKIwQOX5KjCq2T9WqKMrhUj8MOS6YsVXBO1hMsDhPLIRevd51H/0rObd0sHLthrg0aZlAvldRZMCQ48KX3a6KYr8ozIby3uKpojgIQ44LP/xfKqCmCFoa537kdGwhRC96tsaWaXz+N4lcbAYtJlRkIyZuLpqucXiblp4H7QqkEFPzeL2jWq8dt76/5cZax47XoMaNvXOHAY198HiD9efcIY/kkBHbJLBw01yMmB9FYMjXyZ6GOblOUq4QhS0+c/YelV25z3CgOECTvueYhD9alXz1e4oEA9oAorBnfhbCzD8XiCmefXYFPI/H6UJd1mTn6YTP/xNOLgATaxu/3aLgseyn4uhaZ02B7zbe3MQHK44jT+KtHOoxoPgZIV8OFwP5UQyGXIIUtCAhuYni38hp1BfbQUK+WFBDIBtIFCE/A60v126I2Lok3uEmJD4uRZQZa1dkoS28C9ui82IkPMCei6M5RPyoL4eLf6/8oB9fiL4pzlT73nmkMUiSvLdP3u7lLqKsKBY+9djWAxyEhXyNKLjP56OXekK4cwuKIlV4triliHaKAnGmRJGRQ4QzOVzNDfw7w3WjPz+Jfm213ytiBEPuF4zg6O7Fv1FxxoLCNmLtKlHYIjRNHzvUxpBTWDnAoognneEXe16s3y6KEzk8w4XyXAyGPCKKIIlXiULOvKgtZ3GQYARkF4lCQC9lR5297YWTL3XO3Ey7IT6bKLJy6Pm69nsPF8pzMRjyN4lio0hclBaFPiYFa2CBhOsrK4pEAcv//jdR7Mghw843vnk52cGF8lwMhhyLQv4nQQ0TpwcpLIvZKQoGKh4Gc47Oeb+kKGKFgdZXUhSMWLzXR9W8WL9bFIzcHDLE/kO/UVrbyuVCfhSDJMm/aPfULe+JfcdlvLzKfM6v/cKxyGnUJ4njfnlsLpzoFaUa1/X98j0hBLSBnhRzn15H4tUfspsqREE8uVLs6VeyjJxYJ0UBfS8vitwcCowd1cATIZcL+VEMS+BXjZ1aXzwZo5pjk8MB549R/Hfa6dhC+NgSfqxBtienKGI7N0waEAWDv8X4H+/4PrHmDe2eEQWD5299vBNsxXrLl7Xv5UXByM0hI5YPQQ5XzI+KN2EpLJWouaui4nNja6erqPh00EeS+pT4R3C7/QWdclcI63MgHAAAAABJRU5ErkJggg==","Name":"Bullet list, fourth level","Paragraph":{"Font":{"Name":"Roboto","NameFarEast":"Roboto","NameComplexScript":"+mn-cs","Size":14.0,"Bold":false,"Italic":false,"Underline":false,"Color":"81, 43, 43","SmallCaps":false,"AllCaps":false},"Alignment":0,"IndentBefore":69.7322845,"FirstLineIndent":-14.1732283,"ParagraphSpacing":{"Before":8.0,"After":0.0,"LineSpacing":1.0,"MeasureInLines":true}},"List":{"Visible":true,"BulletType":1,"StartValue":1,"IndentLevel":1,"Character":8211,"CharacterFont":"Roboto","BulletStyle":0,"BulletSize":1.0,"BulletColor":"255, 95, 0"}},{"Base64Png":"data:image/png;base64,iVBORw0KGgoAAAANSUhEUgAAALQAAAASCAYAAADyiPTBAAAAAXNSR0IArs4c6QAAAARnQU1BAACxjwv8YQUAAAAJcEhZcwAADsMAAA7DAcdvqGQAAAPfSURBVGhD7VkxcuMwDPR//IP7xRWqr7terWbyB5Vp9ARXN5PWrZu8IIUbj7+BIwhSEsGFTMmyc8lpZzieSOACBFcQxOw2bNgwgUtX0c/9HoyK6uZIFyIKprMgvBUdzsN8dG1tIB90bPy19vg4vwgX57eO+aw6n8upWJB9uJXAkVB7wwbhGfkvwUPjEPI91d2RTscwuo7aSq7PTVoECvoZCYV+vYj2TxW0CJfz58Trcntwg/NoxWLZh9sJNkFPQMjxZp8alzTj3i1AYd2xEDp3vnrV3Xly7trJKvWrMTcOyx753wQ9ASHHoo1VYxP0fEFLMSiPw7L/7wRN1zeidx4fi4IUcixafW8qkbIhDZ3CdRS0tRCiMx0a8SWDe0zZwN6nGtZDhnxYDyaLpa1GvFVDh4V+I6IArXk6Ftve9p/sg1rD1HfPkvwz5j1s01wMGAfRB9GL+/k1Hj9mC1vI8426HEOiR+J9hKAH4UjveHJ+Y//OieIEXXxfLx9MddP5Pv+ikhsBfQBBDz0rizjwB2GIaOb5jeB5bHfwXHFNw7xM0Ka97T992Pjjne8NwrbeJkvy722AcBmar4SLgeLY0aubn4g5Difq68jwBoQ8JkcNJdxHCNp6+jWflVQN5AMJWvMz0PpK/WpY60KxMEx7WAUH4STr5OrIogb7w1iaf8SLrpVw8d9ZHHRtgZBH4/UtIZyCkHPCpDLEwa8NTmS6iHUF3fO516Q3GCGrZA8RNF9L+Ygr43juvyzogn0Y4578Z3NVXPdw7ej9NxZyHC9tRmpByPMEM2IgWdBrCTokhX1YI8a1tqD7ChP81K714NekXte3FvQd+b+HK9ujm4JeUKF1ghn6qXuUoGN/iEbfe4KNRUB+LREx6Oz8uD51+LBy/d/IrtSvxlcSdFH+kxYDtCAzuLI9wh+Eo/EeDAsg5J8kaMU/hbUF7VsLtQYWt17ftxb0jPwzhvkSU5LPGVxoj+w+ekZ1Zgg5FnS8F5M5vKbThPWLmSlohrmRjvM06m/XFLQlCLS+7yxoRmn+GdFv7U8uch+lXCgOD7q6Sv3HtR8vP5yQ3e+Cs2gh54QNrwZ/3NKfJaaBR/t43HUIx0raFgWNrsUN4+vxddVzOh+9sOImOru26/rzYg3oA1XocM2vY+KICflFX/gaqwka+l9P0KX5jxB+N0AlLuVCcawGIQ9BJoODyj+SGCc3RwIXu9YJQCcSBW0thF/1+jAe+b6MHh6rYsJNM0TEZ+3pP1a4f855td9nCpqR+19P0IzS/DOs+CNKuKw4NnwSekGBKrVhw5fDrSq1YcOXgm8Btuq8Ana7v7EGs91+CjoeAAAAAElFTkSuQmCC","Name":"Bullet list, fifth level","Paragraph":{"Font":{"Name":"Roboto","NameFarEast":"Roboto","NameComplexScript":"+mn-cs","Size":14.0,"Bold":false,"Italic":false,"Underline":false,"Color":"81, 43, 43","SmallCaps":false,"AllCaps":false},"Alignment":0,"IndentBefore":83.90551,"FirstLineIndent":-14.1732283,"ParagraphSpacing":{"Before":8.0,"After":0.0,"LineSpacing":1.0,"MeasureInLines":true}},"List":{"Visible":true,"BulletType":1,"StartValue":1,"IndentLevel":1,"Character":9679,"CharacterFont":"Arial","BulletStyle":0,"BulletSize":1.0,"BulletColor":"255, 95, 0"}},{"Base64Png":"data:image/png;base64,iVBORw0KGgoAAAANSUhEUgAAALsAAAASCAYAAAADg69MAAAAAXNSR0IArs4c6QAAAARnQU1BAACxjwv8YQUAAAAJcEhZcwAADsMAAA7DAcdvqGQAAAO3SURBVGhD7VnLkaswEHQ+juYdCIQrUTgBQnAMXJ0FF/LQ0zAMQqMWCJC8W1vqKh1WC92jmdYPPyoqKm5g6hvz7/kErTFtN5jJGLM8egrM25j36N5HfbmBNMzQzX2voZzuFeSMy5jBvKhuTX+6Zt+oSwqKx8ECT9P2g/kMS+t782q4/0ryCCjwbyQV6s6mev46s+eMq5o9ASyAE/7peJW/UgxouhuDMWNvWhtL24+77+ZOWKruN4FiqmZPAAtgQ/M2W81ezf4dFI+DBbCh9f/2Esq7QGc+Sz8KPDYYY0bz7liLG51juZCrpmqxCYg0YpOWTPNqNrxNZ94XdTX2uAU6LjGxzq8819LxUvg2jd73aqO0j+5eV+pC4JqD9+Bk3OcixOLIBhYIizgNYeJLmN2Zyg5+vje4+wIli5I0zfeIjhPY9fO9YookBGoAs0sfm3DhXwzC5jmnu8UR9/IYjEvXw895PCZ/ctLHBfqfM/3eznSlLvMzwNQEzZfCRQji8AcVa850R5DkwqZXGC/xPv9Vs8dWB80XS6wG0kCm0vwENL5U3S2SudEkpBVwNii/j/KDV05nKO9Z4QM1E1ytC+JGfSlc9HcQRymze19jbKMthxLqDySv2Vc+u83OD2ygjVDG7NTn85nRrp7bdy+bPYEbxEVYNe3qh7R3zZ5QG407dQneVbHd4coOFggTTpBggsBzmX1JDGnEmsSVajqki0zlVlBurT1y0Barx5Wqu0Uyd8TsBKkLynVxs9+oyx0uVLuskKSihOtZWcrscvZETVZCVGAEpLtnKjNaHXsGdhc6ujht3k3URTjk3olLdgdkUhRTCbMn1cU7toBjzQkuVLusYIEfMrvi30Nus89HCjUGMqce3xWzJ3NHzC79bccXUZ2f4mY/UReCe5/j8vJ8ggvVLitYAJtd/idJdduzn7h1QCfNTuBChAMkzs/mzJvT7DFjoPGdNfspbjQJVS5RfUqbnZBaF4Jo0x0D6aRyoTiyQpLpX1B781q/ifrBy/PyWe29fAbTz6LAUZ8Ujvplq1s5rYbwORPQ56s++GYtgBrIVEvfPI6dz2FI19+6HacgmRvExcbYTkwwSWBMec2eWheBxI1W8FQuFEdWsMASqNcosPBSRfjYdzh4fu5lC6gTigKPDYa2eP2DA9KeNhMrttLCwgFTEei3BP+HHzpTh7xa98jshBRuHdc6SZRhUH8YU16zE1LrQojlWJDCFYuj4gexGkuZsqLiz+FoFauo+DOYjxB1VS+Ix+M/BUFdI7hf9hcAAAAASUVORK5CYII=","Name":"Bullet list, sixth level","Paragraph":{"Font":{"Name":"Roboto","NameFarEast":"Roboto","NameComplexScript":"+mn-cs","Size":14.0,"Bold":false,"Italic":false,"Underline":false,"Color":"81, 43, 43","SmallCaps":false,"AllCaps":false},"Alignment":0,"IndentBefore":98.07874,"FirstLineIndent":-14.1732283,"ParagraphSpacing":{"Before":8.0,"After":0.0,"LineSpacing":1.0,"MeasureInLines":true}},"List":{"Visible":true,"BulletType":1,"StartValue":1,"IndentLevel":1,"Character":8722,"CharacterFont":"Arial","BulletStyle":0,"BulletSize":1.0,"BulletColor":"81, 43, 43"}},{"Base64Png":"data:image/png;base64,iVBORw0KGgoAAAANSUhEUgAAANQAAAASCAYAAAAjb/CxAAAAAXNSR0IArs4c6QAAAARnQU1BAACxjwv8YQUAAAAJcEhZcwAADsMAAA7DAcdvqGQAAAQMSURBVGhD7VnbcYMwEEw/riYfFOJfqnADlOAa+HUX/nEfilaHhDhWcGBsZxLtjGZiIu09dCsk8VVRUfGL8ega9306kda4c9u7h3Nu6LoJwtu4630cz54dDWbD9W14dulfZ/c/wLneXVAbTberLt4x/xa81A8hP7lz17tbP7Suc5dGnh+ZvHcklNoNgjpVQT2JKigDhJwX262Vt9WeQqSF/UQg7t65s/fl3N0Xxx6dLKvdvwYWdxWUAULORSNbpSqoKijBvxCUu8et2v2JILlo9P+WEipvs9bdhufM6VIgzt3dtRVb0nDekYlMNlUriZzZKC0MKJpLk/E2rbvutKuxxJ1jKXZA8kpyRgt+mSvFhLNxP/UvnpeX4p7Mv4rPct7eM//AkTkAqB9hYD5hhcFrEPJ5oSDhcDYXzyShKnl7BTVOoPc9nOPG8xsShTgf4VzXSvLaLiwgD5XcCGqDCCo+k0If+Id8SvFss5tjjXvothp76EOKBtBxmrhSn9gPMY3CWMu3Hi//m46HnRL2zH/oc2AOAOZHOt/Mm+q4AiFnPL4p4SSHDxRUafXRfKWkajAbTFCaH2DxWe3msHJbYk8LZ+4TeWbjGgtukh9j3OXxc38Y9s7/kTnA75kfMdiZAGLzr9/Q0QAhR+Kg6LHhtRlsTIKYJz5i1WkP/SzxEX+1CF4jKDyb8rm7X6HzsbsFtcy9JfZZ3pRPVq7S/KXizOZvUVCG+Wd4Zv6PygF+z2okdig2EnAJQj4ayxHtzJw+SlBDUia+qxb9shY2s6sTCoxFJO3st2fYJui4rHZzWLifiX1vHn+doD6QAzZ2XVBEpSUI+bTYIrTqXyWouE9nLa3oZIIZmF0mqIhwqePPC+MB2++/s35WuwxL3Jtin2xv8r+3cf1WQb0zB+g7qxG9AurGCqcEIf+QoBT/EtgEMzC79A2F7ZeKAQLQ8Vnt5rBwb4kdGOMSfyaxGLlK8/cxQX0gBwCrkRRwLiQ0XF8OXUwQci6o+L+YVJZ4IAWzUVCATIQKzgOc+BQw/DQXNrOhBVUqDGthLWELtzV2IPKew63VvHAtXM/GXRoP7BEU8O4cAMyPAKyEciWLK0z+nWMNQo7EwWhsnbuku/yp47F/vBK+Dterui9zmj0bF4Z4DZtxehtpguNk+n647i3FSm2wN1TcNiOOhStWZjcVICkswMxtjD1CCsY3smhauFIsFkHRuPl4YK+g3p0D9GN+HAYhH5ycNDjl950kQTc/RhyXfhdfJDqhzOlSINgO6Y9xzPYjJse30huDThoRFKA/bn77omff8bTdNUEBVm5r7EApjog1ri2CAuZxHy8o4J05AEp+VHwIqbD8RA2PKioq9mJtlayoqNiAsBWqb6c/gK+vH3bFvFHKne5kAAAAAElFTkSuQmCC","Name":"Bullet list, seventh level","Paragraph":{"Font":{"Name":"Roboto","NameFarEast":"Roboto","NameComplexScript":"+mn-cs","Size":14.0,"Bold":false,"Italic":false,"Underline":false,"Color":"81, 43, 43","SmallCaps":false,"AllCaps":false},"Alignment":0,"IndentBefore":112.251968,"FirstLineIndent":-14.1732283,"ParagraphSpacing":{"Before":8.0,"After":0.0,"LineSpacing":1.0,"MeasureInLines":true}},"List":{"Visible":true,"BulletType":1,"StartValue":1,"IndentLevel":1,"Character":9679,"CharacterFont":"Arial","BulletStyle":0,"BulletSize":1.0,"BulletColor":"81, 43, 43"}},{"Base64Png":"data:image/png;base64,iVBORw0KGgoAAAANSUhEUgAAANsAAAAXCAYAAACCqTqPAAAAAXNSR0IArs4c6QAAAARnQU1BAACxjwv8YQUAAAAJcEhZcwAADsMAAA7DAcdvqGQAAAS+SURBVHhe7ZsxbuswDIbffXKDd4sMmd/WPauB3CFjFx8h0wO6es3SE3TIEvQaLGlLFimJsuw0tqv6BwgEtiRKFD9Zduw/mzZt2vQrBbcajrsd7NGO9Q3M4V+ne31oY7DfHeByg9FxALjB5dDFcX+o4Q6yjWvVtX+smuDc7AL4AHh/ATjhz/dlOgNNZQKOhkExh5P66cm6wdbpmbABNHA2MZ7a/rcIPt8AXv8C/MM+WVsDbGjnZrgfG2xl6Kde2XjORvNVXMU4ZCuDbb+r4DoQmA22MvRs2J6lYdhePbhOeGXjV7fVwIY2sJ3cYCtDhcNGgOEW8rMr0F7p1gibNgijDbYyVC5snx/BwbXBdq5dEqaCl0pWfmOcSuRrZfx421beNgUSbjegvX/fL7LDAc+5tmnS7ziOo5341rCOcq/g95/qD/nQ1Nat0bdft1Z88wcH2D/r29aNxWysD657U8MZy/b1bFxw2M99QJIHYtg/jIGJvWyPP3CJ2cAYVgcbzr2bAB2W2WDj8EfMgtJPatTCe1DR/wonW5SXRolpqgXi7UTtEPEtYKuDvgfxnODDis9laJjQPeTzw0bn+SITNTa2ImGTyRsfwFywtWZXcLzCkckVHldp01eC5mrKdKulLYPmARMmMK32rr5/FYmNQ7ZhVmJbnydRkISRpKExVlVrF37FnuiDJG8PUjHszs8Nm1jU+dzdGriMGFvqdkdojbD5x6KDnQ22+KotE0mBQSwaKR/KgiKg8OpnLEg8mXhC+LBpMfo+H9j32PgyYjCkqbCJ/ik7B5cfYd+Kgo3kBhsBaibYtECmQOByySgnLNV/Li02/LgOSzyhxPHIQmb1kI+MuiQtPrmaDFtG/AF3J3Tv1t2/yb5p85LUmmGTCZ2frLxeaqIfg02fSC51bLmwKcmcWnW5YmPU2vT1iI/cuovBxmOQmD9NxcFG4ufEyvlrYAv95PomuWQeB9sjPqbVnRc2kvNN5u6ZzemkioSN5KBw5zfYzLFsc8k8GrZs63zkxoa0JGyke/CgxpY3D4OUvhcLm0gOu3pusPXt5tkGmzpHWO5ah/+1dfWqaL+KhY3Ey1CCbLC5Y+6RddpMkyI+udvIMT5yY0NaA2y+wH/07+UHqWzYeOCoHPuzuWjYWDkOhtb3HOXARnrER27dNcJmxecuyLGSYSOJxGOWgm1KMq0KNq3+lMk2yo3PQz4y6y4FW85ikFq0J8XmJ8FGcpPjLISNBVkJpgR3Wdi0RBNQ+H30zymJSu9rUvv8Hcts2L7LR9YczAsbnxdtsUvl5dNh6z/ROb3kNZ6pMR2XIHUWC5aAkt5v6+8r/P04mZfIs8NGNuF1LdZ2m+zsdahgnAyqXNhIU32Q9LrN4q9r+XkkX9fy4x8uFiKGfX7R+BJjyIUN4M2VGyg7VmNgI/mJGk3ECJTScPL7RFkWtsGXnRNAtF8aROpw8+uPgY00xYdVbCfiDAHDpO5/zwgbqY1DMkfI9H65raizZP6OurL9Nx+ans7JcmM1FjYSn0R1G4DBblcoEVC6guAKhIF3bSwMGx5v+4rwi6Smx85sa6ap/QQoOs74n7RjYSON9cGV+sTGxWd+2Kxin9jkfD5k58zVwzoNwBdGH6dLnSmkSQAAAABJRU5ErkJggg==","Name":"Numbered list","Paragraph":{"Font":{"Name":"Roboto","NameFarEast":"+mn-ea","NameComplexScript":"+mn-cs","Size":22.0,"Bold":false,"Italic":false,"Underline":false,"Color":"81, 43, 43","SmallCaps":false,"AllCaps":false},"Alignment":0,"IndentBefore":28.3464565,"FirstLineIndent":-28.3464565,"ParagraphSpacing":{"Before":8.0,"After":0.0,"LineSpacing":1.0,"MeasureInLines":true}},"List":{"Visible":true,"BulletType":0,"StartValue":1,"IndentLevel":1,"Character":8226,"CharacterFont":"+mj-lt","BulletStyle":0,"BulletSize":1.0,"BulletColor":"255, 95, 0"}},{"Base64Png":"data:image/png;base64,iVBORw0KGgoAAAANSUhEUgAAAF8AAAARCAYAAAC7HnDpAAAAAXNSR0IArs4c6QAAAARnQU1BAACxjwv8YQUAAAAJcEhZcwAADsMAAA7DAcdvqGQAAAKdSURBVFhH7VjLkYMwDN1+Us0eKIQrVdAAJaQGrnTBhT60esKyhX8hEyeZzUQznt01RnrvWbLF/nzta6eM5oF+Lxfqp5XcVHbuXxrRSss0UN9dhNA+OuqHmbaV3k7uY8Unmmn0okPwgUYeYSM6ur55A1qJjyS7Cq+BFno+p5vxlsGJzFnuprxtjuBvN9H2ArAl+0jxw8NyduvmjPNX/HvtYfG3eZJj6DrzgoMz/n3oRIB9dDQ6IWi1RxmPjv3z++LQGNYdfbCYHfuOsDwqfsAdj5Q3qt3efcBj19A6US/PUkE1UfuJeZ2Jt02OfIZ0bAkJFnXEHcE/dQ53hoDLPLPVA/F2Evs7stZvxBFki8zf5pkWJJLgRzLgb24ojID+CFbsjEcxWuxeM3NUKx49os/EywjKO807lzvj7dqYtA9ee+bAih8QY5Jx5p0VOjd3ywL+NGtL/qSKgd3ce8HPjj/+W15kq8U7WFxuMrAR5rgoBYFJ1yTvZYhpqZ64uP3aTFY9S/xbIu0VEQlrOC2uEpKNOyu+Gl6Ie3512lp8PfO1tA/jpeIr9vqImw5//GBkEutu8a3hst2FqZcX7F7xVTz4GifOHncmysZj/pXiKz5g8fdPOsqc891gVXwEFceZTkQt3OAcuZH4NVB+7TsyP5O9NTtkfo5LVXzNvkpQDdBW/DLZ94hf5lUyy0nPfIsZVhffP8yT8De9A9Vc/MiPxfNc8VP8oeVOEwLNyGg6wNiPxX1opyvxxI4fROF/O/YjSQnWnN0jPuZsyeJDxn4PyDBrW4kPC708eHLWOh5WQKuDbzxMMtjTwE0FjhH/UjxvCJxrNfevTROgofgwiWnjMcHNV1vw01J8wWlEtjyyOuCDy7bbBZFhPqFs1SbxiP4ApioyPNaDaVsAAAAASUVORK5CYII=","Name":"Small text","Paragraph":{"Font":{"Name":"Roboto","NameFarEast":"+mn-ea","NameComplexScript":"+mn-cs","Size":16.0,"Bold":false,"Italic":false,"Underline":false,"Color":"81, 43, 43","SmallCaps":false,"AllCaps":false},"Alignment":0,"IndentBefore":0.0,"FirstLineIndent":0.0,"ParagraphSpacing":{"Before":8.0,"After":0.0,"LineSpacing":1.0,"MeasureInLines":true}},"List":{"Visible":false,"BulletType":4,"StartValue":1,"IndentLevel":1,"Character":8226,"CharacterFont":"","BulletStyle":0,"BulletSize":1.0,"BulletColor":"255, 95, 0"}},{"Base64Png":"data:image/png;base64,iVBORw0KGgoAAAANSUhEUgAAADgAAAAQCAYAAABDebxFAAAAAXNSR0IArs4c6QAAAARnQU1BAACxjwv8YQUAAAAJcEhZcwAADsMAAA7DAcdvqGQAAAG6SURBVEhL7VbdcYAgDHYfp+kDg/DKFCzACM7Aq1vw4h5pwm/EeOJV27u2ueOUGJJ85As4/SmB4GExCj7mOQ8F1nnYACCbvCYAGFtRTAPrG/EgONAZmFYGrDH4zECNfzQgQMhgFCwhgak6jP04wBZwBuub8zP9V0UC+KrU6il3oCN4EwFqF6p+c1hdso+DaNy+EdUs6Y2DldFd45x8c6bUgQyp6zqKDsXCvFfMs9r1LCggRqi4uZw0Olm8A5srXDagJZpsiOrFJgEJmExZl3p8DVhGASCPxf3IsdBXF4tsohRHvEqSNGq1JPrq810tbGiJJEpKFO0BSqzq10mbIumGAUrSA+rn2WxaDQVNvTwEUGgNkpJr8nOMJRXhFkWjA+ytQx9dANwndg3wbNO5fhzgxSGjkd/JYVmMieJ8w97Z8O7kQc4A/mwFeeK4MCpRer3cF9cAe0D9fOenALzTg1cASapDHJpOI+Gib0kwmzw/AIy6/enHW6BUNNpwurHESrXO/NwCSEK/ahbpGJ3EcfxVSzb8Ox758T3vfA2K14hwD2Y3cUN5whJAktF7cAjgEyIF/VXyD/BbZZo+AR/tlQ/6W1YzAAAAAElFTkSuQmCC","Name":"Caption","Paragraph":{"Font":{"Name":"Roboto Medium","NameFarEast":"Roboto Medium","NameComplexScript":"+mn-cs","Size":12.0,"Bold":false,"Italic":false,"Underline":false,"Color":"81, 43, 43","SmallCaps":false,"AllCaps":false},"Alignment":0,"IndentBefore":0.0,"FirstLineIndent":0.0,"ParagraphSpacing":{"Before":8.0,"After":0.0,"LineSpacing":1.0,"MeasureInLines":true}},"List":{"Visible":false,"BulletType":4,"StartValue":1,"IndentLevel":1,"Character":8226,"CharacterFont":"","BulletStyle":0,"BulletSize":1.0,"BulletColor":"255, 95, 0"}},{"Base64Png":"data:image/png;base64,iVBORw0KGgoAAAANSUhEUgAAAC4AAAAWCAYAAAC/kK73AAAAAXNSR0IArs4c6QAAAARnQU1BAACxjwv8YQUAAAAJcEhZcwAADsMAAA7DAcdvqGQAAAErSURBVFhH7ZRBDoMgEEV7Ge/DbfQErt3XA7D1ALjzBi7cuTfeYQopyAyItU2xmPqTSVpgPg8Y5/aXgqkDVpSQFTXkPYAe/khjW0sf5VW+5wV9syRmfNiViDfbmxPSoeD4xu9nuvFv6gLXw5vCOaydlxzBtU/RgIAZRNvoktJrqw7EROG2wK2fDMk2ApqPA15LSPPbDXUoCxACF9yOZ/LABFopDrie4/KG+0GG+Zj9nDVwPOYedFEscPfZQ/u44GSd6lpOaS2KA+5vaFso3YeAt/hlNqCVfgKOapaWhQ32iiVV8NPdOKvQ/7VuYpQSuPGyPtSfKCVw04kABsjN2lDJEHBp+Oy7gdAGscGVCNdaL6cLtsNAHgGuhEvGq4aUwWnJ+POXDpN5gvNECQ8L25xnb6YJ7QAAAABJRU5ErkJggg==","Name":"Link","Paragraph":{"Font":{"Name":"Roboto Medium","NameFarEast":"Roboto Medium","NameComplexScript":"+mn-cs","Size":18.0,"Bold":false,"Italic":false,"Underline":true,"Color":"37, 120, 134","SmallCaps":false,"AllCaps":false},"Alignment":0,"IndentBefore":0.0,"FirstLineIndent":0.0,"ParagraphSpacing":{"Before":8.0,"After":0.0,"LineSpacing":1.0,"MeasureInLines":true}},"List":{"Visible":false,"BulletType":4,"StartValue":1,"IndentLevel":1,"Character":8226,"CharacterFont":"","BulletStyle":0,"BulletSize":1.0,"BulletColor":"255, 95, 0"}}]}]]></PpStyles>
</file>

<file path=customXml/itemProps1.xml><?xml version="1.0" encoding="utf-8"?>
<ds:datastoreItem xmlns:ds="http://schemas.openxmlformats.org/officeDocument/2006/customXml" ds:itemID="{CAC020E4-F361-47F6-A672-61BD60F3D751}">
  <ds:schemaRefs>
    <ds:schemaRef ds:uri="http://schemas.microsoft.com/sharepoint/v3/contenttype/forms"/>
  </ds:schemaRefs>
</ds:datastoreItem>
</file>

<file path=customXml/itemProps10.xml><?xml version="1.0" encoding="utf-8"?>
<ds:datastoreItem xmlns:ds="http://schemas.openxmlformats.org/officeDocument/2006/customXml" ds:itemID="{F816BB19-DE83-47A3-B71E-56382B336A95}">
  <ds:schemaRefs/>
</ds:datastoreItem>
</file>

<file path=customXml/itemProps11.xml><?xml version="1.0" encoding="utf-8"?>
<ds:datastoreItem xmlns:ds="http://schemas.openxmlformats.org/officeDocument/2006/customXml" ds:itemID="{66345CBF-CC65-49FD-8919-673A26B1615C}">
  <ds:schemaRefs/>
</ds:datastoreItem>
</file>

<file path=customXml/itemProps12.xml><?xml version="1.0" encoding="utf-8"?>
<ds:datastoreItem xmlns:ds="http://schemas.openxmlformats.org/officeDocument/2006/customXml" ds:itemID="{D1A4A1E3-3440-450C-898F-3A7B381A99A6}">
  <ds:schemaRefs/>
</ds:datastoreItem>
</file>

<file path=customXml/itemProps13.xml><?xml version="1.0" encoding="utf-8"?>
<ds:datastoreItem xmlns:ds="http://schemas.openxmlformats.org/officeDocument/2006/customXml" ds:itemID="{C3066B4C-5303-4975-BFCD-6D99804097D5}">
  <ds:schemaRefs/>
</ds:datastoreItem>
</file>

<file path=customXml/itemProps14.xml><?xml version="1.0" encoding="utf-8"?>
<ds:datastoreItem xmlns:ds="http://schemas.openxmlformats.org/officeDocument/2006/customXml" ds:itemID="{9AE26B76-1D24-4024-8809-879E829CA2D3}">
  <ds:schemaRefs/>
</ds:datastoreItem>
</file>

<file path=customXml/itemProps15.xml><?xml version="1.0" encoding="utf-8"?>
<ds:datastoreItem xmlns:ds="http://schemas.openxmlformats.org/officeDocument/2006/customXml" ds:itemID="{4D844B81-EFC6-4042-9111-A511752BE28C}">
  <ds:schemaRefs/>
</ds:datastoreItem>
</file>

<file path=customXml/itemProps16.xml><?xml version="1.0" encoding="utf-8"?>
<ds:datastoreItem xmlns:ds="http://schemas.openxmlformats.org/officeDocument/2006/customXml" ds:itemID="{A61494C8-0513-4A75-9AD3-E77AD80A96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1e9b6d8-3075-4cd3-a4d7-6248a584bfb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17.xml><?xml version="1.0" encoding="utf-8"?>
<ds:datastoreItem xmlns:ds="http://schemas.openxmlformats.org/officeDocument/2006/customXml" ds:itemID="{C44DBEEF-9CF7-416D-9979-EE80AD487082}">
  <ds:schemaRefs/>
</ds:datastoreItem>
</file>

<file path=customXml/itemProps18.xml><?xml version="1.0" encoding="utf-8"?>
<ds:datastoreItem xmlns:ds="http://schemas.openxmlformats.org/officeDocument/2006/customXml" ds:itemID="{DE657AD8-9852-4D29-9C2A-860D2A30DFDF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office/infopath/2007/PartnerControls"/>
    <ds:schemaRef ds:uri="51e9b6d8-3075-4cd3-a4d7-6248a584bfb4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DF79D526-460F-485B-B49E-9961F42FEA3A}">
  <ds:schemaRefs/>
</ds:datastoreItem>
</file>

<file path=customXml/itemProps3.xml><?xml version="1.0" encoding="utf-8"?>
<ds:datastoreItem xmlns:ds="http://schemas.openxmlformats.org/officeDocument/2006/customXml" ds:itemID="{DE7625D9-0BC8-4863-A17E-7CC39C4CBBA1}">
  <ds:schemaRefs/>
</ds:datastoreItem>
</file>

<file path=customXml/itemProps4.xml><?xml version="1.0" encoding="utf-8"?>
<ds:datastoreItem xmlns:ds="http://schemas.openxmlformats.org/officeDocument/2006/customXml" ds:itemID="{C05AFAF4-26D2-47D7-AD40-001E0F864319}">
  <ds:schemaRefs/>
</ds:datastoreItem>
</file>

<file path=customXml/itemProps5.xml><?xml version="1.0" encoding="utf-8"?>
<ds:datastoreItem xmlns:ds="http://schemas.openxmlformats.org/officeDocument/2006/customXml" ds:itemID="{41F5F4FB-7D9B-44F7-8776-B62303AA1933}">
  <ds:schemaRefs/>
</ds:datastoreItem>
</file>

<file path=customXml/itemProps6.xml><?xml version="1.0" encoding="utf-8"?>
<ds:datastoreItem xmlns:ds="http://schemas.openxmlformats.org/officeDocument/2006/customXml" ds:itemID="{2ACC7C35-5325-44B1-AF4F-B4D1005656AD}">
  <ds:schemaRefs/>
</ds:datastoreItem>
</file>

<file path=customXml/itemProps7.xml><?xml version="1.0" encoding="utf-8"?>
<ds:datastoreItem xmlns:ds="http://schemas.openxmlformats.org/officeDocument/2006/customXml" ds:itemID="{CDC7E3F5-B1C8-45CB-BD2A-B623689F6565}">
  <ds:schemaRefs/>
</ds:datastoreItem>
</file>

<file path=customXml/itemProps8.xml><?xml version="1.0" encoding="utf-8"?>
<ds:datastoreItem xmlns:ds="http://schemas.openxmlformats.org/officeDocument/2006/customXml" ds:itemID="{99E9A379-577E-4EBD-A2DD-169C044E2597}">
  <ds:schemaRefs/>
</ds:datastoreItem>
</file>

<file path=customXml/itemProps9.xml><?xml version="1.0" encoding="utf-8"?>
<ds:datastoreItem xmlns:ds="http://schemas.openxmlformats.org/officeDocument/2006/customXml" ds:itemID="{6CA29A9C-74E9-4DFA-8119-E31C38CCA755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9551</TotalTime>
  <Words>192</Words>
  <Application>Microsoft Office PowerPoint</Application>
  <PresentationFormat>Widescreen</PresentationFormat>
  <Paragraphs>28</Paragraphs>
  <Slides>7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4" baseType="lpstr">
      <vt:lpstr>Swedbank Headline Black</vt:lpstr>
      <vt:lpstr>Roboto</vt:lpstr>
      <vt:lpstr>Swedbank Headline Bold</vt:lpstr>
      <vt:lpstr>Arial</vt:lpstr>
      <vt:lpstr>Swedbank</vt:lpstr>
      <vt:lpstr>1_Swedbank</vt:lpstr>
      <vt:lpstr>think-cell Slide</vt:lpstr>
      <vt:lpstr>EE Q1 in media</vt:lpstr>
      <vt:lpstr>EE SOV Q1: 31,07%, in March 34,9%</vt:lpstr>
      <vt:lpstr>Most popular topics </vt:lpstr>
      <vt:lpstr>Good news: Term deposits</vt:lpstr>
      <vt:lpstr>Good news: Energy saving loans with zero margin</vt:lpstr>
      <vt:lpstr>sTARTUp Day in March</vt:lpstr>
      <vt:lpstr>People of the Year 2022 On April 1, we looked back at the year 2022 and recognized our colleagues who have been standing out.</vt:lpstr>
    </vt:vector>
  </TitlesOfParts>
  <Company>Swedban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altic Banking KPIs 2022</dc:title>
  <dc:creator>Martin Kõrv</dc:creator>
  <cp:lastModifiedBy>Evelin Kivilo-Paas</cp:lastModifiedBy>
  <cp:revision>774</cp:revision>
  <cp:lastPrinted>2022-05-17T12:22:55Z</cp:lastPrinted>
  <dcterms:created xsi:type="dcterms:W3CDTF">2021-10-13T06:53:24Z</dcterms:created>
  <dcterms:modified xsi:type="dcterms:W3CDTF">2023-04-19T06:19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 by">
    <vt:lpwstr>www.skabelondesign.dk</vt:lpwstr>
  </property>
  <property fmtid="{D5CDD505-2E9C-101B-9397-08002B2CF9AE}" pid="3" name="TemplafyTimeStamp">
    <vt:lpwstr>2021-03-11T08:58:51.9152193Z</vt:lpwstr>
  </property>
  <property fmtid="{D5CDD505-2E9C-101B-9397-08002B2CF9AE}" pid="4" name="ContentTypeId">
    <vt:lpwstr>0x010100ED8BEA7B581D2748B0255B02EFE85377</vt:lpwstr>
  </property>
</Properties>
</file>